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4.xml" ContentType="application/vnd.openxmlformats-officedocument.presentationml.notesSlid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5.xml" ContentType="application/vnd.openxmlformats-officedocument.presentationml.notesSl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3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34" r:id="rId2"/>
  </p:sldMasterIdLst>
  <p:notesMasterIdLst>
    <p:notesMasterId r:id="rId33"/>
  </p:notesMasterIdLst>
  <p:handoutMasterIdLst>
    <p:handoutMasterId r:id="rId34"/>
  </p:handoutMasterIdLst>
  <p:sldIdLst>
    <p:sldId id="256" r:id="rId3"/>
    <p:sldId id="473" r:id="rId4"/>
    <p:sldId id="509" r:id="rId5"/>
    <p:sldId id="601" r:id="rId6"/>
    <p:sldId id="620" r:id="rId7"/>
    <p:sldId id="621" r:id="rId8"/>
    <p:sldId id="622" r:id="rId9"/>
    <p:sldId id="623" r:id="rId10"/>
    <p:sldId id="624" r:id="rId11"/>
    <p:sldId id="625" r:id="rId12"/>
    <p:sldId id="626" r:id="rId13"/>
    <p:sldId id="627" r:id="rId14"/>
    <p:sldId id="628" r:id="rId15"/>
    <p:sldId id="541" r:id="rId16"/>
    <p:sldId id="542" r:id="rId17"/>
    <p:sldId id="635" r:id="rId18"/>
    <p:sldId id="636" r:id="rId19"/>
    <p:sldId id="637" r:id="rId20"/>
    <p:sldId id="638" r:id="rId21"/>
    <p:sldId id="639" r:id="rId22"/>
    <p:sldId id="640" r:id="rId23"/>
    <p:sldId id="643" r:id="rId24"/>
    <p:sldId id="505" r:id="rId25"/>
    <p:sldId id="606" r:id="rId26"/>
    <p:sldId id="642" r:id="rId27"/>
    <p:sldId id="485" r:id="rId28"/>
    <p:sldId id="575" r:id="rId29"/>
    <p:sldId id="507" r:id="rId30"/>
    <p:sldId id="508" r:id="rId31"/>
    <p:sldId id="604" r:id="rId32"/>
  </p:sldIdLst>
  <p:sldSz cx="9753600" cy="7315200"/>
  <p:notesSz cx="6858000" cy="9144000"/>
  <p:defaultTextStyle>
    <a:defPPr>
      <a:defRPr lang="fr-FR"/>
    </a:defPPr>
    <a:lvl1pPr algn="l" defTabSz="974725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1pPr>
    <a:lvl2pPr marL="487363" indent="-30163" algn="l" defTabSz="974725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2pPr>
    <a:lvl3pPr marL="974725" indent="-60325" algn="l" defTabSz="974725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3pPr>
    <a:lvl4pPr marL="1462088" indent="-90488" algn="l" defTabSz="974725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4pPr>
    <a:lvl5pPr marL="1949450" indent="-120650" algn="l" defTabSz="974725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ＭＳ Ｐゴシック" pitchFamily="-106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7F00"/>
    <a:srgbClr val="00529E"/>
    <a:srgbClr val="99CCFF"/>
    <a:srgbClr val="009EE0"/>
    <a:srgbClr val="B2B2B2"/>
    <a:srgbClr val="4FA928"/>
    <a:srgbClr val="3F458B"/>
    <a:srgbClr val="FFFFFF"/>
    <a:srgbClr val="A8CC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37" autoAdjust="0"/>
    <p:restoredTop sz="95909" autoAdjust="0"/>
  </p:normalViewPr>
  <p:slideViewPr>
    <p:cSldViewPr snapToGrid="0">
      <p:cViewPr>
        <p:scale>
          <a:sx n="80" d="100"/>
          <a:sy n="80" d="100"/>
        </p:scale>
        <p:origin x="-2268" y="-582"/>
      </p:cViewPr>
      <p:guideLst>
        <p:guide orient="horz" pos="2304"/>
        <p:guide pos="307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202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65AAF-64F0-4E25-97FE-2F6AA5A0A6CB}" type="datetimeFigureOut">
              <a:rPr lang="fr-FR" smtClean="0"/>
              <a:t>03/12/201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96973A-86C3-4D55-A2A2-A2885374DD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18409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75299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7E03A654-7B8A-44F0-BEA1-2650AB69F81F}" type="datetimeFigureOut">
              <a:rPr lang="fr-FR"/>
              <a:pPr/>
              <a:t>03/12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75299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F7207689-93F4-4B0A-BC0A-EC4D23B64BC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51903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0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dirty="0" smtClean="0">
              <a:ea typeface="ＭＳ Ｐゴシック" pitchFamily="-106" charset="-128"/>
            </a:endParaRPr>
          </a:p>
        </p:txBody>
      </p:sp>
      <p:sp>
        <p:nvSpPr>
          <p:cNvPr id="17411" name="Espace réservé du numéro de diapositive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r" eaLnBrk="1" hangingPunct="1"/>
            <a:fld id="{55AE28B5-E4DD-4622-9C33-0C3E4924DC47}" type="slidenum">
              <a:rPr lang="fr-FR" sz="1200">
                <a:latin typeface="Calibri" pitchFamily="34" charset="0"/>
              </a:rPr>
              <a:pPr algn="r" eaLnBrk="1" hangingPunct="1"/>
              <a:t>2</a:t>
            </a:fld>
            <a:endParaRPr lang="fr-F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smtClean="0">
              <a:ea typeface="ＭＳ Ｐゴシック" pitchFamily="-106" charset="-128"/>
            </a:endParaRPr>
          </a:p>
        </p:txBody>
      </p:sp>
      <p:sp>
        <p:nvSpPr>
          <p:cNvPr id="348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/>
            <a:fld id="{CF87A846-73F7-419A-BA92-B08E5A93EC41}" type="slidenum">
              <a:rPr lang="fr-FR" sz="1200">
                <a:latin typeface="Calibri" pitchFamily="34" charset="0"/>
              </a:rPr>
              <a:pPr eaLnBrk="1" hangingPunct="1"/>
              <a:t>14</a:t>
            </a:fld>
            <a:endParaRPr lang="fr-FR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75860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2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smtClean="0">
              <a:ea typeface="ＭＳ Ｐゴシック" pitchFamily="-106" charset="-128"/>
            </a:endParaRPr>
          </a:p>
        </p:txBody>
      </p:sp>
      <p:sp>
        <p:nvSpPr>
          <p:cNvPr id="40963" name="Espace réservé du numéro de diapositive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r" eaLnBrk="1" hangingPunct="1"/>
            <a:fld id="{62370650-29E1-4305-9D9C-870F6667FAEF}" type="slidenum">
              <a:rPr lang="fr-FR" sz="1200">
                <a:latin typeface="Calibri" pitchFamily="34" charset="0"/>
              </a:rPr>
              <a:pPr algn="r" eaLnBrk="1" hangingPunct="1"/>
              <a:t>23</a:t>
            </a:fld>
            <a:endParaRPr lang="fr-FR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29890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29890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smtClean="0">
              <a:ea typeface="ＭＳ Ｐゴシック" pitchFamily="-106" charset="-128"/>
            </a:endParaRPr>
          </a:p>
        </p:txBody>
      </p:sp>
      <p:sp>
        <p:nvSpPr>
          <p:cNvPr id="38915" name="Espace réservé du numéro de diapositive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r" eaLnBrk="1" hangingPunct="1"/>
            <a:fld id="{D20F28AB-A386-4362-BE4F-FC28BEBD530E}" type="slidenum">
              <a:rPr lang="fr-FR" sz="1200">
                <a:latin typeface="Calibri" pitchFamily="34" charset="0"/>
              </a:rPr>
              <a:pPr algn="r" eaLnBrk="1" hangingPunct="1"/>
              <a:t>26</a:t>
            </a:fld>
            <a:endParaRPr lang="fr-FR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5681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0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dirty="0" smtClean="0">
              <a:ea typeface="ＭＳ Ｐゴシック" pitchFamily="-106" charset="-128"/>
            </a:endParaRPr>
          </a:p>
        </p:txBody>
      </p:sp>
      <p:sp>
        <p:nvSpPr>
          <p:cNvPr id="43011" name="Espace réservé du numéro de diapositive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r" eaLnBrk="1" hangingPunct="1"/>
            <a:fld id="{C9A71A76-8DAC-4197-8DD8-2FF4B8ED5EDC}" type="slidenum">
              <a:rPr lang="fr-FR" sz="1200">
                <a:latin typeface="Calibri" pitchFamily="34" charset="0"/>
              </a:rPr>
              <a:pPr algn="r" eaLnBrk="1" hangingPunct="1"/>
              <a:t>3</a:t>
            </a:fld>
            <a:endParaRPr lang="fr-F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6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smtClean="0">
              <a:ea typeface="ＭＳ Ｐゴシック" pitchFamily="-106" charset="-128"/>
            </a:endParaRPr>
          </a:p>
        </p:txBody>
      </p:sp>
      <p:sp>
        <p:nvSpPr>
          <p:cNvPr id="36867" name="Espace réservé du numéro de diapositive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r" eaLnBrk="1" hangingPunct="1"/>
            <a:fld id="{83C5C5A1-B247-4E94-8422-12FBC2E9634A}" type="slidenum">
              <a:rPr lang="fr-FR" sz="1200">
                <a:latin typeface="Calibri" pitchFamily="34" charset="0"/>
              </a:rPr>
              <a:pPr algn="r" eaLnBrk="1" hangingPunct="1"/>
              <a:t>28</a:t>
            </a:fld>
            <a:endParaRPr lang="fr-FR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07689-93F4-4B0A-BC0A-EC4D23B64BCA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923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7"/>
          <p:cNvGrpSpPr>
            <a:grpSpLocks/>
          </p:cNvGrpSpPr>
          <p:nvPr/>
        </p:nvGrpSpPr>
        <p:grpSpPr bwMode="auto">
          <a:xfrm>
            <a:off x="344488" y="207963"/>
            <a:ext cx="1692275" cy="385762"/>
            <a:chOff x="248599" y="177791"/>
            <a:chExt cx="1659954" cy="378579"/>
          </a:xfrm>
        </p:grpSpPr>
        <p:sp>
          <p:nvSpPr>
            <p:cNvPr id="5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10602" name="Espace réservé du titre 1"/>
          <p:cNvSpPr>
            <a:spLocks noGrp="1"/>
          </p:cNvSpPr>
          <p:nvPr>
            <p:ph type="ctrTitle"/>
          </p:nvPr>
        </p:nvSpPr>
        <p:spPr>
          <a:xfrm>
            <a:off x="1279525" y="5099050"/>
            <a:ext cx="7756525" cy="1568450"/>
          </a:xfrm>
        </p:spPr>
        <p:txBody>
          <a:bodyPr anchor="t"/>
          <a:lstStyle>
            <a:lvl1pPr>
              <a:defRPr sz="2800">
                <a:solidFill>
                  <a:srgbClr val="00519E"/>
                </a:solidFill>
                <a:latin typeface="Arial Narrow" charset="0"/>
              </a:defRPr>
            </a:lvl1pPr>
          </a:lstStyle>
          <a:p>
            <a:pPr lvl="0"/>
            <a:r>
              <a:rPr lang="fr-FR" noProof="0"/>
              <a:t>Cliquez pour modifier le style du titre</a:t>
            </a:r>
          </a:p>
        </p:txBody>
      </p:sp>
      <p:sp>
        <p:nvSpPr>
          <p:cNvPr id="110604" name="Rectangle 1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79525" y="5962650"/>
            <a:ext cx="6826250" cy="63976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40" tIns="45720" rIns="91440" bIns="45720"/>
          <a:lstStyle>
            <a:lvl1pPr marL="0" indent="0">
              <a:buFontTx/>
              <a:buNone/>
              <a:defRPr sz="2000">
                <a:latin typeface="Arial Narrow" charset="0"/>
              </a:defRPr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2460858924"/>
      </p:ext>
    </p:extLst>
  </p:cSld>
  <p:clrMapOvr>
    <a:masterClrMapping/>
  </p:clrMapOvr>
  <p:transition spd="slow"/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7"/>
          <p:cNvGrpSpPr>
            <a:grpSpLocks/>
          </p:cNvGrpSpPr>
          <p:nvPr/>
        </p:nvGrpSpPr>
        <p:grpSpPr bwMode="auto">
          <a:xfrm>
            <a:off x="344488" y="207963"/>
            <a:ext cx="1692275" cy="385762"/>
            <a:chOff x="248599" y="177791"/>
            <a:chExt cx="1659954" cy="378579"/>
          </a:xfrm>
        </p:grpSpPr>
        <p:sp>
          <p:nvSpPr>
            <p:cNvPr id="5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35178" name="Espace réservé du titre 1"/>
          <p:cNvSpPr>
            <a:spLocks noGrp="1"/>
          </p:cNvSpPr>
          <p:nvPr>
            <p:ph type="ctrTitle"/>
          </p:nvPr>
        </p:nvSpPr>
        <p:spPr>
          <a:xfrm>
            <a:off x="6070600" y="2944813"/>
            <a:ext cx="2613025" cy="1460500"/>
          </a:xfrm>
        </p:spPr>
        <p:txBody>
          <a:bodyPr lIns="0" tIns="0" rIns="0" bIns="0" anchor="b"/>
          <a:lstStyle>
            <a:lvl1pPr>
              <a:defRPr sz="123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35179" name="Rectangle 1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0" y="4687888"/>
            <a:ext cx="3195638" cy="13065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40" tIns="45720" rIns="91440" bIns="45720"/>
          <a:lstStyle>
            <a:lvl1pPr marL="0" indent="0">
              <a:buFontTx/>
              <a:buNone/>
              <a:defRPr sz="3400">
                <a:latin typeface="Arial Narrow" charset="0"/>
              </a:defRPr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66927119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75756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69938" y="4700588"/>
            <a:ext cx="8291512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69938" y="3100388"/>
            <a:ext cx="8291512" cy="160020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17455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76350" y="1676400"/>
            <a:ext cx="3803650" cy="5040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232400" y="1676400"/>
            <a:ext cx="3803650" cy="5040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9547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7363" y="293688"/>
            <a:ext cx="8778875" cy="12192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87363" y="1636713"/>
            <a:ext cx="4310062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87363" y="2319338"/>
            <a:ext cx="4310062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954588" y="1636713"/>
            <a:ext cx="4311650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954588" y="2319338"/>
            <a:ext cx="4311650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47428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4803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62599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7363" y="290513"/>
            <a:ext cx="32099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13175" y="290513"/>
            <a:ext cx="5453063" cy="6243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87363" y="1530350"/>
            <a:ext cx="3209925" cy="50038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360547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11350" y="5121275"/>
            <a:ext cx="5853113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911350" y="654050"/>
            <a:ext cx="5853113" cy="43894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11350" y="5724525"/>
            <a:ext cx="5853113" cy="8588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994744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9085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e 20" hidden="1"/>
          <p:cNvGrpSpPr>
            <a:grpSpLocks/>
          </p:cNvGrpSpPr>
          <p:nvPr/>
        </p:nvGrpSpPr>
        <p:grpSpPr bwMode="auto">
          <a:xfrm>
            <a:off x="0" y="0"/>
            <a:ext cx="9753600" cy="7315200"/>
            <a:chOff x="0" y="0"/>
            <a:chExt cx="9753600" cy="7315200"/>
          </a:xfrm>
        </p:grpSpPr>
        <p:grpSp>
          <p:nvGrpSpPr>
            <p:cNvPr id="6" name="Groupe 23"/>
            <p:cNvGrpSpPr>
              <a:grpSpLocks/>
            </p:cNvGrpSpPr>
            <p:nvPr/>
          </p:nvGrpSpPr>
          <p:grpSpPr bwMode="auto">
            <a:xfrm>
              <a:off x="0" y="0"/>
              <a:ext cx="9753600" cy="7315200"/>
              <a:chOff x="0" y="0"/>
              <a:chExt cx="9753600" cy="7315200"/>
            </a:xfrm>
          </p:grpSpPr>
          <p:grpSp>
            <p:nvGrpSpPr>
              <p:cNvPr id="8" name="Groupe 25"/>
              <p:cNvGrpSpPr>
                <a:grpSpLocks/>
              </p:cNvGrpSpPr>
              <p:nvPr/>
            </p:nvGrpSpPr>
            <p:grpSpPr bwMode="auto">
              <a:xfrm>
                <a:off x="0" y="0"/>
                <a:ext cx="9753600" cy="7315200"/>
                <a:chOff x="0" y="0"/>
                <a:chExt cx="9753600" cy="7315200"/>
              </a:xfrm>
            </p:grpSpPr>
            <p:cxnSp>
              <p:nvCxnSpPr>
                <p:cNvPr id="13" name="Connecteur droit 12"/>
                <p:cNvCxnSpPr/>
                <p:nvPr/>
              </p:nvCxnSpPr>
              <p:spPr>
                <a:xfrm>
                  <a:off x="0" y="1393825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Connecteur droit 13"/>
                <p:cNvCxnSpPr/>
                <p:nvPr/>
              </p:nvCxnSpPr>
              <p:spPr>
                <a:xfrm>
                  <a:off x="0" y="278765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Connecteur droit 14"/>
                <p:cNvCxnSpPr/>
                <p:nvPr/>
              </p:nvCxnSpPr>
              <p:spPr>
                <a:xfrm>
                  <a:off x="0" y="4181475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Connecteur droit 15"/>
                <p:cNvCxnSpPr/>
                <p:nvPr/>
              </p:nvCxnSpPr>
              <p:spPr>
                <a:xfrm>
                  <a:off x="0" y="557530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Connecteur droit 16"/>
                <p:cNvCxnSpPr/>
                <p:nvPr/>
              </p:nvCxnSpPr>
              <p:spPr>
                <a:xfrm>
                  <a:off x="0" y="6970713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Connecteur droit 17"/>
                <p:cNvCxnSpPr/>
                <p:nvPr/>
              </p:nvCxnSpPr>
              <p:spPr>
                <a:xfrm>
                  <a:off x="0" y="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Connecteur droit 18"/>
                <p:cNvCxnSpPr/>
                <p:nvPr/>
              </p:nvCxnSpPr>
              <p:spPr>
                <a:xfrm>
                  <a:off x="0" y="731520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9" name="Connecteur droit 8"/>
              <p:cNvCxnSpPr/>
              <p:nvPr/>
            </p:nvCxnSpPr>
            <p:spPr>
              <a:xfrm>
                <a:off x="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Connecteur droit 9"/>
              <p:cNvCxnSpPr/>
              <p:nvPr/>
            </p:nvCxnSpPr>
            <p:spPr>
              <a:xfrm>
                <a:off x="127635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necteur droit 10"/>
              <p:cNvCxnSpPr/>
              <p:nvPr/>
            </p:nvCxnSpPr>
            <p:spPr>
              <a:xfrm>
                <a:off x="487680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Connecteur droit 11"/>
              <p:cNvCxnSpPr/>
              <p:nvPr/>
            </p:nvCxnSpPr>
            <p:spPr>
              <a:xfrm>
                <a:off x="243840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" name="Connecteur droit 6"/>
            <p:cNvCxnSpPr/>
            <p:nvPr/>
          </p:nvCxnSpPr>
          <p:spPr>
            <a:xfrm>
              <a:off x="9753600" y="0"/>
              <a:ext cx="0" cy="7315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e 37"/>
          <p:cNvGrpSpPr>
            <a:grpSpLocks/>
          </p:cNvGrpSpPr>
          <p:nvPr/>
        </p:nvGrpSpPr>
        <p:grpSpPr bwMode="auto">
          <a:xfrm>
            <a:off x="344488" y="207963"/>
            <a:ext cx="1692275" cy="385762"/>
            <a:chOff x="248599" y="177791"/>
            <a:chExt cx="1659954" cy="378579"/>
          </a:xfrm>
        </p:grpSpPr>
        <p:sp>
          <p:nvSpPr>
            <p:cNvPr id="21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6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98306" name="Espace réservé du titre 1"/>
          <p:cNvSpPr>
            <a:spLocks noGrp="1"/>
          </p:cNvSpPr>
          <p:nvPr>
            <p:ph type="ctrTitle"/>
          </p:nvPr>
        </p:nvSpPr>
        <p:spPr>
          <a:xfrm>
            <a:off x="1281113" y="5962650"/>
            <a:ext cx="7754937" cy="37147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 Narrow" charset="0"/>
              </a:defRPr>
            </a:lvl1pPr>
          </a:lstStyle>
          <a:p>
            <a:pPr lvl="0"/>
            <a:r>
              <a:rPr lang="fr-FR" noProof="0"/>
              <a:t>Cliquez pour modifier le style du titre</a:t>
            </a:r>
          </a:p>
        </p:txBody>
      </p:sp>
      <p:sp>
        <p:nvSpPr>
          <p:cNvPr id="98307" name="Espace réservé du texte 2"/>
          <p:cNvSpPr>
            <a:spLocks noGrp="1"/>
          </p:cNvSpPr>
          <p:nvPr>
            <p:ph type="subTitle" idx="1"/>
          </p:nvPr>
        </p:nvSpPr>
        <p:spPr>
          <a:xfrm>
            <a:off x="1281113" y="6376988"/>
            <a:ext cx="7754937" cy="338137"/>
          </a:xfrm>
        </p:spPr>
        <p:txBody>
          <a:bodyPr anchor="b"/>
          <a:lstStyle>
            <a:lvl1pPr marL="0" indent="0">
              <a:buFontTx/>
              <a:buNone/>
              <a:defRPr sz="1600">
                <a:solidFill>
                  <a:schemeClr val="tx2"/>
                </a:solidFill>
                <a:latin typeface="Arial Narrow" charset="0"/>
              </a:defRPr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718918903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96125" y="293688"/>
            <a:ext cx="1939925" cy="6423025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276350" y="293688"/>
            <a:ext cx="5667375" cy="64230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8675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2"/>
          <p:cNvGrpSpPr>
            <a:grpSpLocks/>
          </p:cNvGrpSpPr>
          <p:nvPr/>
        </p:nvGrpSpPr>
        <p:grpSpPr bwMode="auto">
          <a:xfrm>
            <a:off x="309563" y="7083425"/>
            <a:ext cx="657225" cy="150813"/>
            <a:chOff x="248599" y="177791"/>
            <a:chExt cx="1659954" cy="378579"/>
          </a:xfrm>
        </p:grpSpPr>
        <p:sp>
          <p:nvSpPr>
            <p:cNvPr id="3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0" name="Rectangle 9"/>
          <p:cNvSpPr/>
          <p:nvPr/>
        </p:nvSpPr>
        <p:spPr>
          <a:xfrm>
            <a:off x="1276350" y="7002463"/>
            <a:ext cx="1296988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2573338" y="7002463"/>
            <a:ext cx="6442075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9015413" y="7002463"/>
            <a:ext cx="738187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3" name="Connecteur droit 12"/>
          <p:cNvCxnSpPr/>
          <p:nvPr/>
        </p:nvCxnSpPr>
        <p:spPr>
          <a:xfrm>
            <a:off x="2573338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9015413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276350" y="7040563"/>
            <a:ext cx="1296988" cy="236537"/>
          </a:xfrm>
          <a:prstGeom prst="rect">
            <a:avLst/>
          </a:prstGeom>
        </p:spPr>
        <p:txBody>
          <a:bodyPr/>
          <a:lstStyle>
            <a:lvl1pPr algn="ctr">
              <a:defRPr sz="900" b="1">
                <a:solidFill>
                  <a:srgbClr val="9B9B9B"/>
                </a:solidFill>
              </a:defRPr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16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73338" y="7040563"/>
            <a:ext cx="6442075" cy="2365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9015413" y="7040563"/>
            <a:ext cx="720725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F72CD69-AECC-4EF8-9375-F493AB30E1F0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0317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37"/>
          <p:cNvGrpSpPr>
            <a:grpSpLocks/>
          </p:cNvGrpSpPr>
          <p:nvPr/>
        </p:nvGrpSpPr>
        <p:grpSpPr bwMode="auto">
          <a:xfrm>
            <a:off x="344488" y="207963"/>
            <a:ext cx="1692275" cy="385762"/>
            <a:chOff x="248599" y="177791"/>
            <a:chExt cx="1659954" cy="378579"/>
          </a:xfrm>
        </p:grpSpPr>
        <p:sp>
          <p:nvSpPr>
            <p:cNvPr id="4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6" name="Titre 1"/>
          <p:cNvSpPr>
            <a:spLocks noGrp="1"/>
          </p:cNvSpPr>
          <p:nvPr>
            <p:ph type="ctrTitle"/>
          </p:nvPr>
        </p:nvSpPr>
        <p:spPr>
          <a:xfrm>
            <a:off x="1279525" y="5076068"/>
            <a:ext cx="7756525" cy="504056"/>
          </a:xfrm>
        </p:spPr>
        <p:txBody>
          <a:bodyPr lIns="0" tIns="0" rIns="0" bIns="0" anchor="t">
            <a:normAutofit/>
          </a:bodyPr>
          <a:lstStyle>
            <a:lvl1pPr algn="l">
              <a:defRPr sz="2800">
                <a:latin typeface="+mj-lt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969408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79524" y="0"/>
            <a:ext cx="7756525" cy="84931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279525" y="1676399"/>
            <a:ext cx="7756525" cy="5040313"/>
          </a:xfrm>
        </p:spPr>
        <p:txBody>
          <a:bodyPr>
            <a:noAutofit/>
          </a:bodyPr>
          <a:lstStyle>
            <a:lvl1pPr marL="365737" indent="-365737">
              <a:buFontTx/>
              <a:buBlip>
                <a:blip r:embed="rId2"/>
              </a:buBlip>
              <a:defRPr/>
            </a:lvl1pPr>
            <a:lvl2pPr marL="792430" indent="-304781">
              <a:buFontTx/>
              <a:buBlip>
                <a:blip r:embed="rId3"/>
              </a:buBlip>
              <a:defRPr/>
            </a:lvl2pPr>
            <a:lvl3pPr marL="1219124" indent="-243825">
              <a:buFontTx/>
              <a:buBlip>
                <a:blip r:embed="rId3"/>
              </a:buBlip>
              <a:defRPr/>
            </a:lvl3pPr>
            <a:lvl4pPr marL="1706773" indent="-243825">
              <a:buFontTx/>
              <a:buBlip>
                <a:blip r:embed="rId3"/>
              </a:buBlip>
              <a:defRPr/>
            </a:lvl4pPr>
            <a:lvl5pPr marL="2194423" indent="-243825">
              <a:buFontTx/>
              <a:buBlip>
                <a:blip r:embed="rId3"/>
              </a:buBlip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215A6AE-3B30-456B-9E09-BFD0746B31DC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08482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79524" y="0"/>
            <a:ext cx="7756525" cy="175777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279526" y="2441359"/>
            <a:ext cx="7756524" cy="4275354"/>
          </a:xfrm>
        </p:spPr>
        <p:txBody>
          <a:bodyPr>
            <a:noAutofit/>
          </a:bodyPr>
          <a:lstStyle>
            <a:lvl1pPr marL="365737" indent="-365737">
              <a:buFontTx/>
              <a:buBlip>
                <a:blip r:embed="rId2"/>
              </a:buBlip>
              <a:defRPr/>
            </a:lvl1pPr>
            <a:lvl2pPr marL="792430" indent="-304781">
              <a:buFontTx/>
              <a:buBlip>
                <a:blip r:embed="rId3"/>
              </a:buBlip>
              <a:defRPr/>
            </a:lvl2pPr>
            <a:lvl3pPr marL="1219124" indent="-243825">
              <a:buFontTx/>
              <a:buBlip>
                <a:blip r:embed="rId3"/>
              </a:buBlip>
              <a:defRPr/>
            </a:lvl3pPr>
            <a:lvl4pPr marL="1706773" indent="-243825">
              <a:buFontTx/>
              <a:buBlip>
                <a:blip r:embed="rId3"/>
              </a:buBlip>
              <a:defRPr/>
            </a:lvl4pPr>
            <a:lvl5pPr marL="2194423" indent="-243825">
              <a:buFontTx/>
              <a:buBlip>
                <a:blip r:embed="rId3"/>
              </a:buBlip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F14BE07-2A10-4D16-BF90-211000E6061E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52335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79524" y="0"/>
            <a:ext cx="7756525" cy="358657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279526" y="4261282"/>
            <a:ext cx="7756524" cy="2455432"/>
          </a:xfrm>
        </p:spPr>
        <p:txBody>
          <a:bodyPr>
            <a:noAutofit/>
          </a:bodyPr>
          <a:lstStyle>
            <a:lvl1pPr marL="365737" indent="-365737">
              <a:buFontTx/>
              <a:buBlip>
                <a:blip r:embed="rId2"/>
              </a:buBlip>
              <a:defRPr/>
            </a:lvl1pPr>
            <a:lvl2pPr marL="792430" indent="-304781">
              <a:buFontTx/>
              <a:buBlip>
                <a:blip r:embed="rId3"/>
              </a:buBlip>
              <a:defRPr/>
            </a:lvl2pPr>
            <a:lvl3pPr marL="1219124" indent="-243825">
              <a:buFontTx/>
              <a:buBlip>
                <a:blip r:embed="rId3"/>
              </a:buBlip>
              <a:defRPr/>
            </a:lvl3pPr>
            <a:lvl4pPr marL="1706773" indent="-243825">
              <a:buFontTx/>
              <a:buBlip>
                <a:blip r:embed="rId3"/>
              </a:buBlip>
              <a:defRPr/>
            </a:lvl4pPr>
            <a:lvl5pPr marL="2194423" indent="-243825">
              <a:buFontTx/>
              <a:buBlip>
                <a:blip r:embed="rId3"/>
              </a:buBlip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2FB8B8-21CD-46A6-A0CE-528FCE764424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490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79524" y="5962649"/>
            <a:ext cx="7756525" cy="75406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009EE0"/>
                </a:solidFill>
                <a:latin typeface="Arial Narrow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279526" y="479395"/>
            <a:ext cx="7756524" cy="4619655"/>
          </a:xfrm>
        </p:spPr>
        <p:txBody>
          <a:bodyPr>
            <a:noAutofit/>
          </a:bodyPr>
          <a:lstStyle>
            <a:lvl1pPr marL="365737" indent="-365737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792430" indent="-304781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219124" indent="-2438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1706773" indent="-2438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2194423" indent="-2438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D30809-748D-4CA0-B0D5-89DA42D1380C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933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2"/>
          <p:cNvGrpSpPr>
            <a:grpSpLocks/>
          </p:cNvGrpSpPr>
          <p:nvPr/>
        </p:nvGrpSpPr>
        <p:grpSpPr bwMode="auto">
          <a:xfrm>
            <a:off x="309563" y="7083425"/>
            <a:ext cx="657225" cy="150813"/>
            <a:chOff x="248599" y="177791"/>
            <a:chExt cx="1659954" cy="378579"/>
          </a:xfrm>
        </p:grpSpPr>
        <p:sp>
          <p:nvSpPr>
            <p:cNvPr id="3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0" name="Rectangle 9"/>
          <p:cNvSpPr/>
          <p:nvPr/>
        </p:nvSpPr>
        <p:spPr>
          <a:xfrm>
            <a:off x="1276350" y="7002463"/>
            <a:ext cx="1296988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2573338" y="7002463"/>
            <a:ext cx="6442075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9015413" y="7002463"/>
            <a:ext cx="738187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3" name="Connecteur droit 12"/>
          <p:cNvCxnSpPr/>
          <p:nvPr/>
        </p:nvCxnSpPr>
        <p:spPr>
          <a:xfrm>
            <a:off x="2573338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9015413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z="900" b="1">
                <a:solidFill>
                  <a:srgbClr val="9B9B9B"/>
                </a:solidFill>
              </a:defRPr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1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72CD69-AECC-4EF8-9375-F493AB30E1F0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6780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2"/>
          <p:cNvGrpSpPr>
            <a:grpSpLocks/>
          </p:cNvGrpSpPr>
          <p:nvPr/>
        </p:nvGrpSpPr>
        <p:grpSpPr bwMode="auto">
          <a:xfrm>
            <a:off x="309563" y="7083425"/>
            <a:ext cx="657225" cy="150813"/>
            <a:chOff x="248599" y="177791"/>
            <a:chExt cx="1659954" cy="378579"/>
          </a:xfrm>
        </p:grpSpPr>
        <p:sp>
          <p:nvSpPr>
            <p:cNvPr id="3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0" name="Rectangle 9"/>
          <p:cNvSpPr/>
          <p:nvPr/>
        </p:nvSpPr>
        <p:spPr>
          <a:xfrm>
            <a:off x="1276350" y="7002463"/>
            <a:ext cx="1296988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2573338" y="7002463"/>
            <a:ext cx="6442075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9015413" y="7002463"/>
            <a:ext cx="738187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3" name="Connecteur droit 12"/>
          <p:cNvCxnSpPr/>
          <p:nvPr/>
        </p:nvCxnSpPr>
        <p:spPr>
          <a:xfrm>
            <a:off x="2573338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9015413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276350" y="7040563"/>
            <a:ext cx="1296988" cy="236537"/>
          </a:xfrm>
          <a:prstGeom prst="rect">
            <a:avLst/>
          </a:prstGeom>
        </p:spPr>
        <p:txBody>
          <a:bodyPr/>
          <a:lstStyle>
            <a:lvl1pPr algn="ctr">
              <a:defRPr sz="900" b="1">
                <a:solidFill>
                  <a:srgbClr val="9B9B9B"/>
                </a:solidFill>
              </a:defRPr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16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73338" y="7040563"/>
            <a:ext cx="6442075" cy="2365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9015413" y="7040563"/>
            <a:ext cx="720725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E193D32-FDE6-47BB-8F67-5ED2FA303132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9143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281113" y="0"/>
            <a:ext cx="7754937" cy="84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</a:p>
        </p:txBody>
      </p:sp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1276350" y="1676400"/>
            <a:ext cx="7759700" cy="504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" name="Rectangle 6"/>
          <p:cNvSpPr/>
          <p:nvPr/>
        </p:nvSpPr>
        <p:spPr>
          <a:xfrm>
            <a:off x="1276350" y="7002463"/>
            <a:ext cx="1296988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2573338" y="7002463"/>
            <a:ext cx="6442075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9" name="Rectangle 8"/>
          <p:cNvSpPr/>
          <p:nvPr/>
        </p:nvSpPr>
        <p:spPr>
          <a:xfrm>
            <a:off x="9015413" y="7002463"/>
            <a:ext cx="738187" cy="3127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75299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276350" y="7040563"/>
            <a:ext cx="1296988" cy="23653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 defTabSz="975299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rgbClr val="9B9B9B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19/01/2012</a:t>
            </a:r>
            <a:endParaRPr lang="fr-FR" dirty="0"/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573338" y="7040563"/>
            <a:ext cx="6442075" cy="2365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1">
                <a:solidFill>
                  <a:srgbClr val="9B9B9B"/>
                </a:solidFill>
              </a:defRPr>
            </a:lvl1pPr>
          </a:lstStyle>
          <a:p>
            <a:r>
              <a:rPr lang="fr-FR"/>
              <a:t>Conférence métiers Supply Chain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015413" y="7040563"/>
            <a:ext cx="720725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900" b="1">
                <a:solidFill>
                  <a:srgbClr val="9B9B9B"/>
                </a:solidFill>
              </a:defRPr>
            </a:lvl1pPr>
          </a:lstStyle>
          <a:p>
            <a:fld id="{1D440897-F0E8-4FF6-AC20-CB77BE40CBD0}" type="slidenum">
              <a:rPr lang="fr-FR"/>
              <a:pPr/>
              <a:t>‹N°›</a:t>
            </a:fld>
            <a:endParaRPr lang="fr-FR"/>
          </a:p>
        </p:txBody>
      </p:sp>
      <p:grpSp>
        <p:nvGrpSpPr>
          <p:cNvPr id="1035" name="Groupe 12"/>
          <p:cNvGrpSpPr>
            <a:grpSpLocks/>
          </p:cNvGrpSpPr>
          <p:nvPr/>
        </p:nvGrpSpPr>
        <p:grpSpPr bwMode="auto">
          <a:xfrm>
            <a:off x="309563" y="7083425"/>
            <a:ext cx="657225" cy="150813"/>
            <a:chOff x="248599" y="177791"/>
            <a:chExt cx="1659954" cy="378579"/>
          </a:xfrm>
        </p:grpSpPr>
        <p:sp>
          <p:nvSpPr>
            <p:cNvPr id="1053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4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5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6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7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8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9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22" name="Connecteur droit 21"/>
          <p:cNvCxnSpPr/>
          <p:nvPr/>
        </p:nvCxnSpPr>
        <p:spPr>
          <a:xfrm>
            <a:off x="2573338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/>
        </p:nvCxnSpPr>
        <p:spPr>
          <a:xfrm>
            <a:off x="9015413" y="7002463"/>
            <a:ext cx="0" cy="3127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8" name="Groupe 20" hidden="1"/>
          <p:cNvGrpSpPr>
            <a:grpSpLocks/>
          </p:cNvGrpSpPr>
          <p:nvPr/>
        </p:nvGrpSpPr>
        <p:grpSpPr bwMode="auto">
          <a:xfrm>
            <a:off x="0" y="0"/>
            <a:ext cx="9753600" cy="7315200"/>
            <a:chOff x="0" y="0"/>
            <a:chExt cx="9753600" cy="7315200"/>
          </a:xfrm>
        </p:grpSpPr>
        <p:grpSp>
          <p:nvGrpSpPr>
            <p:cNvPr id="1039" name="Groupe 23"/>
            <p:cNvGrpSpPr>
              <a:grpSpLocks/>
            </p:cNvGrpSpPr>
            <p:nvPr/>
          </p:nvGrpSpPr>
          <p:grpSpPr bwMode="auto">
            <a:xfrm>
              <a:off x="0" y="0"/>
              <a:ext cx="9753600" cy="7315200"/>
              <a:chOff x="0" y="0"/>
              <a:chExt cx="9753600" cy="7315200"/>
            </a:xfrm>
          </p:grpSpPr>
          <p:grpSp>
            <p:nvGrpSpPr>
              <p:cNvPr id="1041" name="Groupe 25"/>
              <p:cNvGrpSpPr>
                <a:grpSpLocks/>
              </p:cNvGrpSpPr>
              <p:nvPr/>
            </p:nvGrpSpPr>
            <p:grpSpPr bwMode="auto">
              <a:xfrm>
                <a:off x="0" y="0"/>
                <a:ext cx="9753600" cy="7315200"/>
                <a:chOff x="0" y="0"/>
                <a:chExt cx="9753600" cy="7315200"/>
              </a:xfrm>
            </p:grpSpPr>
            <p:cxnSp>
              <p:nvCxnSpPr>
                <p:cNvPr id="31" name="Connecteur droit 30"/>
                <p:cNvCxnSpPr/>
                <p:nvPr/>
              </p:nvCxnSpPr>
              <p:spPr>
                <a:xfrm>
                  <a:off x="0" y="1393825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Connecteur droit 31"/>
                <p:cNvCxnSpPr/>
                <p:nvPr/>
              </p:nvCxnSpPr>
              <p:spPr>
                <a:xfrm>
                  <a:off x="0" y="278765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Connecteur droit 32"/>
                <p:cNvCxnSpPr/>
                <p:nvPr/>
              </p:nvCxnSpPr>
              <p:spPr>
                <a:xfrm>
                  <a:off x="0" y="4181475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Connecteur droit 33"/>
                <p:cNvCxnSpPr/>
                <p:nvPr/>
              </p:nvCxnSpPr>
              <p:spPr>
                <a:xfrm>
                  <a:off x="0" y="557530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Connecteur droit 34"/>
                <p:cNvCxnSpPr/>
                <p:nvPr/>
              </p:nvCxnSpPr>
              <p:spPr>
                <a:xfrm>
                  <a:off x="0" y="6970713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Connecteur droit 35"/>
                <p:cNvCxnSpPr/>
                <p:nvPr/>
              </p:nvCxnSpPr>
              <p:spPr>
                <a:xfrm>
                  <a:off x="0" y="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Connecteur droit 36"/>
                <p:cNvCxnSpPr/>
                <p:nvPr/>
              </p:nvCxnSpPr>
              <p:spPr>
                <a:xfrm>
                  <a:off x="0" y="7315200"/>
                  <a:ext cx="975360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" name="Connecteur droit 26"/>
              <p:cNvCxnSpPr/>
              <p:nvPr/>
            </p:nvCxnSpPr>
            <p:spPr>
              <a:xfrm>
                <a:off x="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necteur droit 27"/>
              <p:cNvCxnSpPr/>
              <p:nvPr/>
            </p:nvCxnSpPr>
            <p:spPr>
              <a:xfrm>
                <a:off x="127635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necteur droit 28"/>
              <p:cNvCxnSpPr/>
              <p:nvPr/>
            </p:nvCxnSpPr>
            <p:spPr>
              <a:xfrm>
                <a:off x="487680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Connecteur droit 29"/>
              <p:cNvCxnSpPr/>
              <p:nvPr/>
            </p:nvCxnSpPr>
            <p:spPr>
              <a:xfrm>
                <a:off x="2438400" y="0"/>
                <a:ext cx="0" cy="7315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Connecteur droit 24"/>
            <p:cNvCxnSpPr/>
            <p:nvPr/>
          </p:nvCxnSpPr>
          <p:spPr>
            <a:xfrm>
              <a:off x="9753600" y="0"/>
              <a:ext cx="0" cy="7315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57" r:id="rId4"/>
    <p:sldLayoutId id="2147483758" r:id="rId5"/>
    <p:sldLayoutId id="2147483759" r:id="rId6"/>
    <p:sldLayoutId id="2147483760" r:id="rId7"/>
    <p:sldLayoutId id="2147483774" r:id="rId8"/>
    <p:sldLayoutId id="2147483777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74725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l" defTabSz="974725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2pPr>
      <a:lvl3pPr algn="l" defTabSz="974725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3pPr>
      <a:lvl4pPr algn="l" defTabSz="974725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4pPr>
      <a:lvl5pPr algn="l" defTabSz="974725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5pPr>
      <a:lvl6pPr marL="457200" algn="l" defTabSz="974725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6pPr>
      <a:lvl7pPr marL="914400" algn="l" defTabSz="974725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7pPr>
      <a:lvl8pPr marL="1371600" algn="l" defTabSz="974725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8pPr>
      <a:lvl9pPr marL="1828800" algn="l" defTabSz="974725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charset="0"/>
          <a:ea typeface="ＭＳ Ｐゴシック" charset="0"/>
        </a:defRPr>
      </a:lvl9pPr>
    </p:titleStyle>
    <p:bodyStyle>
      <a:lvl1pPr marL="365125" indent="-365125" algn="l" defTabSz="974725" rtl="0" eaLnBrk="0" fontAlgn="base" hangingPunct="0">
        <a:spcBef>
          <a:spcPts val="1200"/>
        </a:spcBef>
        <a:spcAft>
          <a:spcPct val="0"/>
        </a:spcAft>
        <a:buBlip>
          <a:blip r:embed="rId12"/>
        </a:buBlip>
        <a:defRPr lang="fr-FR" sz="2400" kern="1200" dirty="0">
          <a:solidFill>
            <a:srgbClr val="00519E"/>
          </a:solidFill>
          <a:latin typeface="+mn-lt"/>
          <a:ea typeface="ＭＳ Ｐゴシック" charset="0"/>
          <a:cs typeface="+mn-cs"/>
        </a:defRPr>
      </a:lvl1pPr>
      <a:lvl2pPr marL="792163" indent="-303213" algn="l" defTabSz="974725" rtl="0" eaLnBrk="0" fontAlgn="base" hangingPunct="0">
        <a:spcBef>
          <a:spcPts val="600"/>
        </a:spcBef>
        <a:spcAft>
          <a:spcPct val="0"/>
        </a:spcAft>
        <a:buBlip>
          <a:blip r:embed="rId13"/>
        </a:buBlip>
        <a:defRPr lang="fr-FR" sz="2000" kern="1200" dirty="0">
          <a:solidFill>
            <a:srgbClr val="00519E"/>
          </a:solidFill>
          <a:latin typeface="+mn-lt"/>
          <a:ea typeface="ＭＳ Ｐゴシック" charset="0"/>
          <a:cs typeface="+mn-cs"/>
        </a:defRPr>
      </a:lvl2pPr>
      <a:lvl3pPr marL="1217613" indent="-242888" algn="l" defTabSz="974725" rtl="0" eaLnBrk="0" fontAlgn="base" hangingPunct="0">
        <a:spcBef>
          <a:spcPts val="600"/>
        </a:spcBef>
        <a:spcAft>
          <a:spcPct val="0"/>
        </a:spcAft>
        <a:buBlip>
          <a:blip r:embed="rId13"/>
        </a:buBlip>
        <a:defRPr lang="fr-FR" kern="1200" dirty="0">
          <a:solidFill>
            <a:srgbClr val="00519E"/>
          </a:solidFill>
          <a:latin typeface="+mn-lt"/>
          <a:ea typeface="ＭＳ Ｐゴシック" charset="0"/>
          <a:cs typeface="+mn-cs"/>
        </a:defRPr>
      </a:lvl3pPr>
      <a:lvl4pPr marL="1706563" indent="-242888" algn="l" defTabSz="974725" rtl="0" eaLnBrk="0" fontAlgn="base" hangingPunct="0">
        <a:spcBef>
          <a:spcPts val="600"/>
        </a:spcBef>
        <a:spcAft>
          <a:spcPct val="0"/>
        </a:spcAft>
        <a:buBlip>
          <a:blip r:embed="rId13"/>
        </a:buBlip>
        <a:defRPr lang="fr-FR" sz="1600" kern="1200" dirty="0">
          <a:solidFill>
            <a:srgbClr val="00519E"/>
          </a:solidFill>
          <a:latin typeface="+mn-lt"/>
          <a:ea typeface="ＭＳ Ｐゴシック" charset="0"/>
          <a:cs typeface="+mn-cs"/>
        </a:defRPr>
      </a:lvl4pPr>
      <a:lvl5pPr marL="2193925" indent="-242888" algn="l" defTabSz="974725" rtl="0" eaLnBrk="0" fontAlgn="base" hangingPunct="0">
        <a:spcBef>
          <a:spcPts val="600"/>
        </a:spcBef>
        <a:spcAft>
          <a:spcPct val="0"/>
        </a:spcAft>
        <a:buBlip>
          <a:blip r:embed="rId13"/>
        </a:buBlip>
        <a:defRPr lang="fr-FR" sz="1600" kern="1200" dirty="0">
          <a:solidFill>
            <a:srgbClr val="00519E"/>
          </a:solidFill>
          <a:latin typeface="+mn-lt"/>
          <a:ea typeface="ＭＳ Ｐゴシック" charset="0"/>
          <a:cs typeface="+mn-cs"/>
        </a:defRPr>
      </a:lvl5pPr>
      <a:lvl6pPr marL="2682072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69722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7371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021" indent="-243825" algn="l" defTabSz="97529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50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29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2949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59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248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89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3547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196" algn="l" defTabSz="9752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Groupe 37"/>
          <p:cNvGrpSpPr>
            <a:grpSpLocks/>
          </p:cNvGrpSpPr>
          <p:nvPr/>
        </p:nvGrpSpPr>
        <p:grpSpPr bwMode="auto">
          <a:xfrm>
            <a:off x="344488" y="207963"/>
            <a:ext cx="1692275" cy="385762"/>
            <a:chOff x="248599" y="177791"/>
            <a:chExt cx="1659954" cy="378579"/>
          </a:xfrm>
        </p:grpSpPr>
        <p:sp>
          <p:nvSpPr>
            <p:cNvPr id="10245" name="AutoShape 32"/>
            <p:cNvSpPr>
              <a:spLocks noChangeAspect="1" noChangeArrowheads="1" noTextEdit="1"/>
            </p:cNvSpPr>
            <p:nvPr/>
          </p:nvSpPr>
          <p:spPr bwMode="auto">
            <a:xfrm>
              <a:off x="248599" y="177791"/>
              <a:ext cx="1659540" cy="378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46" name="Freeform 34"/>
            <p:cNvSpPr>
              <a:spLocks noEditPoints="1"/>
            </p:cNvSpPr>
            <p:nvPr/>
          </p:nvSpPr>
          <p:spPr bwMode="auto">
            <a:xfrm>
              <a:off x="1367165" y="177791"/>
              <a:ext cx="378786" cy="378579"/>
            </a:xfrm>
            <a:custGeom>
              <a:avLst/>
              <a:gdLst>
                <a:gd name="T0" fmla="*/ 92686246 w 775"/>
                <a:gd name="T1" fmla="*/ 0 h 775"/>
                <a:gd name="T2" fmla="*/ 0 w 775"/>
                <a:gd name="T3" fmla="*/ 92346409 h 775"/>
                <a:gd name="T4" fmla="*/ 92686246 w 775"/>
                <a:gd name="T5" fmla="*/ 184931689 h 775"/>
                <a:gd name="T6" fmla="*/ 185133979 w 775"/>
                <a:gd name="T7" fmla="*/ 92346409 h 775"/>
                <a:gd name="T8" fmla="*/ 92686246 w 775"/>
                <a:gd name="T9" fmla="*/ 0 h 775"/>
                <a:gd name="T10" fmla="*/ 92686246 w 775"/>
                <a:gd name="T11" fmla="*/ 145320602 h 775"/>
                <a:gd name="T12" fmla="*/ 39654740 w 775"/>
                <a:gd name="T13" fmla="*/ 92346409 h 775"/>
                <a:gd name="T14" fmla="*/ 92686246 w 775"/>
                <a:gd name="T15" fmla="*/ 39611087 h 775"/>
                <a:gd name="T16" fmla="*/ 145718241 w 775"/>
                <a:gd name="T17" fmla="*/ 92346409 h 775"/>
                <a:gd name="T18" fmla="*/ 92686246 w 775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5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5" y="601"/>
                    <a:pt x="775" y="387"/>
                  </a:cubicBezTo>
                  <a:cubicBezTo>
                    <a:pt x="775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47" name="Freeform 35"/>
            <p:cNvSpPr>
              <a:spLocks noEditPoints="1"/>
            </p:cNvSpPr>
            <p:nvPr/>
          </p:nvSpPr>
          <p:spPr bwMode="auto">
            <a:xfrm>
              <a:off x="1529354" y="177791"/>
              <a:ext cx="379199" cy="378579"/>
            </a:xfrm>
            <a:custGeom>
              <a:avLst/>
              <a:gdLst>
                <a:gd name="T0" fmla="*/ 92649653 w 776"/>
                <a:gd name="T1" fmla="*/ 0 h 775"/>
                <a:gd name="T2" fmla="*/ 0 w 776"/>
                <a:gd name="T3" fmla="*/ 92346409 h 775"/>
                <a:gd name="T4" fmla="*/ 92649653 w 776"/>
                <a:gd name="T5" fmla="*/ 184931689 h 775"/>
                <a:gd name="T6" fmla="*/ 185298816 w 776"/>
                <a:gd name="T7" fmla="*/ 92346409 h 775"/>
                <a:gd name="T8" fmla="*/ 92649653 w 776"/>
                <a:gd name="T9" fmla="*/ 0 h 775"/>
                <a:gd name="T10" fmla="*/ 92649653 w 776"/>
                <a:gd name="T11" fmla="*/ 145320602 h 775"/>
                <a:gd name="T12" fmla="*/ 39638512 w 776"/>
                <a:gd name="T13" fmla="*/ 92346409 h 775"/>
                <a:gd name="T14" fmla="*/ 92649653 w 776"/>
                <a:gd name="T15" fmla="*/ 39611087 h 775"/>
                <a:gd name="T16" fmla="*/ 145660305 w 776"/>
                <a:gd name="T17" fmla="*/ 92346409 h 775"/>
                <a:gd name="T18" fmla="*/ 92649653 w 776"/>
                <a:gd name="T19" fmla="*/ 145320602 h 7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6" h="775">
                  <a:moveTo>
                    <a:pt x="388" y="0"/>
                  </a:moveTo>
                  <a:cubicBezTo>
                    <a:pt x="174" y="0"/>
                    <a:pt x="0" y="173"/>
                    <a:pt x="0" y="387"/>
                  </a:cubicBezTo>
                  <a:cubicBezTo>
                    <a:pt x="0" y="601"/>
                    <a:pt x="174" y="775"/>
                    <a:pt x="388" y="775"/>
                  </a:cubicBezTo>
                  <a:cubicBezTo>
                    <a:pt x="602" y="775"/>
                    <a:pt x="776" y="601"/>
                    <a:pt x="776" y="387"/>
                  </a:cubicBezTo>
                  <a:cubicBezTo>
                    <a:pt x="776" y="173"/>
                    <a:pt x="602" y="0"/>
                    <a:pt x="388" y="0"/>
                  </a:cubicBezTo>
                  <a:close/>
                  <a:moveTo>
                    <a:pt x="388" y="609"/>
                  </a:moveTo>
                  <a:cubicBezTo>
                    <a:pt x="265" y="609"/>
                    <a:pt x="166" y="510"/>
                    <a:pt x="166" y="387"/>
                  </a:cubicBezTo>
                  <a:cubicBezTo>
                    <a:pt x="166" y="265"/>
                    <a:pt x="265" y="166"/>
                    <a:pt x="388" y="166"/>
                  </a:cubicBezTo>
                  <a:cubicBezTo>
                    <a:pt x="510" y="166"/>
                    <a:pt x="610" y="265"/>
                    <a:pt x="610" y="387"/>
                  </a:cubicBezTo>
                  <a:cubicBezTo>
                    <a:pt x="610" y="510"/>
                    <a:pt x="510" y="609"/>
                    <a:pt x="388" y="609"/>
                  </a:cubicBez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48" name="Freeform 36"/>
            <p:cNvSpPr>
              <a:spLocks/>
            </p:cNvSpPr>
            <p:nvPr/>
          </p:nvSpPr>
          <p:spPr bwMode="auto">
            <a:xfrm>
              <a:off x="511949" y="232613"/>
              <a:ext cx="279486" cy="272453"/>
            </a:xfrm>
            <a:custGeom>
              <a:avLst/>
              <a:gdLst>
                <a:gd name="T0" fmla="*/ 0 w 572"/>
                <a:gd name="T1" fmla="*/ 16926753 h 558"/>
                <a:gd name="T2" fmla="*/ 17428297 w 572"/>
                <a:gd name="T3" fmla="*/ 0 h 558"/>
                <a:gd name="T4" fmla="*/ 22441944 w 572"/>
                <a:gd name="T5" fmla="*/ 0 h 558"/>
                <a:gd name="T6" fmla="*/ 134889130 w 572"/>
                <a:gd name="T7" fmla="*/ 0 h 558"/>
                <a:gd name="T8" fmla="*/ 136560182 w 572"/>
                <a:gd name="T9" fmla="*/ 0 h 558"/>
                <a:gd name="T10" fmla="*/ 113640864 w 572"/>
                <a:gd name="T11" fmla="*/ 16926753 h 558"/>
                <a:gd name="T12" fmla="*/ 70190075 w 572"/>
                <a:gd name="T13" fmla="*/ 16926753 h 558"/>
                <a:gd name="T14" fmla="*/ 70190075 w 572"/>
                <a:gd name="T15" fmla="*/ 94169620 h 558"/>
                <a:gd name="T16" fmla="*/ 40586058 w 572"/>
                <a:gd name="T17" fmla="*/ 132791541 h 558"/>
                <a:gd name="T18" fmla="*/ 38437631 w 572"/>
                <a:gd name="T19" fmla="*/ 132791541 h 558"/>
                <a:gd name="T20" fmla="*/ 38437631 w 572"/>
                <a:gd name="T21" fmla="*/ 16926753 h 558"/>
                <a:gd name="T22" fmla="*/ 4774715 w 572"/>
                <a:gd name="T23" fmla="*/ 16926753 h 558"/>
                <a:gd name="T24" fmla="*/ 0 w 572"/>
                <a:gd name="T25" fmla="*/ 16926753 h 5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2" h="558">
                  <a:moveTo>
                    <a:pt x="0" y="71"/>
                  </a:moveTo>
                  <a:cubicBezTo>
                    <a:pt x="14" y="22"/>
                    <a:pt x="40" y="0"/>
                    <a:pt x="7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18" y="24"/>
                    <a:pt x="476" y="71"/>
                  </a:cubicBezTo>
                  <a:cubicBezTo>
                    <a:pt x="294" y="71"/>
                    <a:pt x="294" y="71"/>
                    <a:pt x="294" y="71"/>
                  </a:cubicBezTo>
                  <a:cubicBezTo>
                    <a:pt x="294" y="395"/>
                    <a:pt x="294" y="395"/>
                    <a:pt x="294" y="395"/>
                  </a:cubicBezTo>
                  <a:cubicBezTo>
                    <a:pt x="294" y="395"/>
                    <a:pt x="295" y="558"/>
                    <a:pt x="170" y="557"/>
                  </a:cubicBezTo>
                  <a:cubicBezTo>
                    <a:pt x="161" y="557"/>
                    <a:pt x="161" y="557"/>
                    <a:pt x="161" y="557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20" y="71"/>
                    <a:pt x="20" y="71"/>
                    <a:pt x="20" y="7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49" name="Freeform 37"/>
            <p:cNvSpPr>
              <a:spLocks/>
            </p:cNvSpPr>
            <p:nvPr/>
          </p:nvSpPr>
          <p:spPr bwMode="auto">
            <a:xfrm>
              <a:off x="1093471" y="228061"/>
              <a:ext cx="227768" cy="277004"/>
            </a:xfrm>
            <a:custGeom>
              <a:avLst/>
              <a:gdLst>
                <a:gd name="T0" fmla="*/ 86003437 w 466"/>
                <a:gd name="T1" fmla="*/ 56565976 h 567"/>
                <a:gd name="T2" fmla="*/ 67847004 w 466"/>
                <a:gd name="T3" fmla="*/ 73750483 h 567"/>
                <a:gd name="T4" fmla="*/ 64263813 w 466"/>
                <a:gd name="T5" fmla="*/ 73750483 h 567"/>
                <a:gd name="T6" fmla="*/ 49691059 w 466"/>
                <a:gd name="T7" fmla="*/ 73750483 h 567"/>
                <a:gd name="T8" fmla="*/ 40135068 w 466"/>
                <a:gd name="T9" fmla="*/ 73750483 h 567"/>
                <a:gd name="T10" fmla="*/ 31773636 w 466"/>
                <a:gd name="T11" fmla="*/ 73750483 h 567"/>
                <a:gd name="T12" fmla="*/ 31773636 w 466"/>
                <a:gd name="T13" fmla="*/ 79239754 h 567"/>
                <a:gd name="T14" fmla="*/ 31773636 w 466"/>
                <a:gd name="T15" fmla="*/ 84967924 h 567"/>
                <a:gd name="T16" fmla="*/ 31773636 w 466"/>
                <a:gd name="T17" fmla="*/ 96424262 h 567"/>
                <a:gd name="T18" fmla="*/ 2150110 w 466"/>
                <a:gd name="T19" fmla="*/ 135089526 h 567"/>
                <a:gd name="T20" fmla="*/ 0 w 466"/>
                <a:gd name="T21" fmla="*/ 135089526 h 567"/>
                <a:gd name="T22" fmla="*/ 0 w 466"/>
                <a:gd name="T23" fmla="*/ 87832252 h 567"/>
                <a:gd name="T24" fmla="*/ 0 w 466"/>
                <a:gd name="T25" fmla="*/ 86877639 h 567"/>
                <a:gd name="T26" fmla="*/ 0 w 466"/>
                <a:gd name="T27" fmla="*/ 34130606 h 567"/>
                <a:gd name="T28" fmla="*/ 0 w 466"/>
                <a:gd name="T29" fmla="*/ 32698197 h 567"/>
                <a:gd name="T30" fmla="*/ 39418038 w 466"/>
                <a:gd name="T31" fmla="*/ 2148124 h 567"/>
                <a:gd name="T32" fmla="*/ 111326742 w 466"/>
                <a:gd name="T33" fmla="*/ 2148124 h 567"/>
                <a:gd name="T34" fmla="*/ 103681851 w 466"/>
                <a:gd name="T35" fmla="*/ 9547111 h 567"/>
                <a:gd name="T36" fmla="*/ 98426080 w 466"/>
                <a:gd name="T37" fmla="*/ 19093734 h 567"/>
                <a:gd name="T38" fmla="*/ 52318701 w 466"/>
                <a:gd name="T39" fmla="*/ 19093734 h 567"/>
                <a:gd name="T40" fmla="*/ 32012646 w 466"/>
                <a:gd name="T41" fmla="*/ 35323628 h 567"/>
                <a:gd name="T42" fmla="*/ 31773636 w 466"/>
                <a:gd name="T43" fmla="*/ 37949059 h 567"/>
                <a:gd name="T44" fmla="*/ 31773636 w 466"/>
                <a:gd name="T45" fmla="*/ 56565976 h 567"/>
                <a:gd name="T46" fmla="*/ 86003437 w 466"/>
                <a:gd name="T47" fmla="*/ 56565976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6" h="567">
                  <a:moveTo>
                    <a:pt x="360" y="237"/>
                  </a:moveTo>
                  <a:cubicBezTo>
                    <a:pt x="363" y="264"/>
                    <a:pt x="342" y="309"/>
                    <a:pt x="284" y="309"/>
                  </a:cubicBezTo>
                  <a:cubicBezTo>
                    <a:pt x="269" y="309"/>
                    <a:pt x="269" y="309"/>
                    <a:pt x="269" y="309"/>
                  </a:cubicBezTo>
                  <a:cubicBezTo>
                    <a:pt x="208" y="309"/>
                    <a:pt x="208" y="309"/>
                    <a:pt x="208" y="309"/>
                  </a:cubicBezTo>
                  <a:cubicBezTo>
                    <a:pt x="168" y="309"/>
                    <a:pt x="168" y="309"/>
                    <a:pt x="168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3" y="332"/>
                    <a:pt x="133" y="332"/>
                    <a:pt x="133" y="332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404"/>
                    <a:pt x="133" y="404"/>
                    <a:pt x="133" y="404"/>
                  </a:cubicBezTo>
                  <a:cubicBezTo>
                    <a:pt x="133" y="404"/>
                    <a:pt x="134" y="567"/>
                    <a:pt x="9" y="566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165" y="9"/>
                    <a:pt x="165" y="9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52" y="20"/>
                    <a:pt x="444" y="26"/>
                    <a:pt x="434" y="40"/>
                  </a:cubicBezTo>
                  <a:cubicBezTo>
                    <a:pt x="424" y="54"/>
                    <a:pt x="417" y="65"/>
                    <a:pt x="412" y="80"/>
                  </a:cubicBezTo>
                  <a:cubicBezTo>
                    <a:pt x="219" y="80"/>
                    <a:pt x="219" y="80"/>
                    <a:pt x="219" y="80"/>
                  </a:cubicBezTo>
                  <a:cubicBezTo>
                    <a:pt x="219" y="80"/>
                    <a:pt x="134" y="75"/>
                    <a:pt x="134" y="148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237"/>
                    <a:pt x="133" y="237"/>
                    <a:pt x="133" y="237"/>
                  </a:cubicBezTo>
                  <a:lnTo>
                    <a:pt x="360" y="237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50" name="Freeform 38"/>
            <p:cNvSpPr>
              <a:spLocks/>
            </p:cNvSpPr>
            <p:nvPr/>
          </p:nvSpPr>
          <p:spPr bwMode="auto">
            <a:xfrm>
              <a:off x="745096" y="228061"/>
              <a:ext cx="323550" cy="313207"/>
            </a:xfrm>
            <a:custGeom>
              <a:avLst/>
              <a:gdLst>
                <a:gd name="T0" fmla="*/ 132335371 w 662"/>
                <a:gd name="T1" fmla="*/ 112690999 h 641"/>
                <a:gd name="T2" fmla="*/ 155267344 w 662"/>
                <a:gd name="T3" fmla="*/ 121047420 h 641"/>
                <a:gd name="T4" fmla="*/ 155983846 w 662"/>
                <a:gd name="T5" fmla="*/ 122957446 h 641"/>
                <a:gd name="T6" fmla="*/ 24603974 w 662"/>
                <a:gd name="T7" fmla="*/ 119853227 h 641"/>
                <a:gd name="T8" fmla="*/ 0 w 662"/>
                <a:gd name="T9" fmla="*/ 66611946 h 641"/>
                <a:gd name="T10" fmla="*/ 22931973 w 662"/>
                <a:gd name="T11" fmla="*/ 18144995 h 641"/>
                <a:gd name="T12" fmla="*/ 82172414 w 662"/>
                <a:gd name="T13" fmla="*/ 0 h 641"/>
                <a:gd name="T14" fmla="*/ 141412855 w 662"/>
                <a:gd name="T15" fmla="*/ 20771341 h 641"/>
                <a:gd name="T16" fmla="*/ 158133841 w 662"/>
                <a:gd name="T17" fmla="*/ 73774174 h 641"/>
                <a:gd name="T18" fmla="*/ 52312952 w 662"/>
                <a:gd name="T19" fmla="*/ 73774174 h 641"/>
                <a:gd name="T20" fmla="*/ 70467431 w 662"/>
                <a:gd name="T21" fmla="*/ 56822884 h 641"/>
                <a:gd name="T22" fmla="*/ 73811921 w 662"/>
                <a:gd name="T23" fmla="*/ 56822884 h 641"/>
                <a:gd name="T24" fmla="*/ 123736370 w 662"/>
                <a:gd name="T25" fmla="*/ 56822884 h 641"/>
                <a:gd name="T26" fmla="*/ 113703388 w 662"/>
                <a:gd name="T27" fmla="*/ 31037788 h 641"/>
                <a:gd name="T28" fmla="*/ 80738921 w 662"/>
                <a:gd name="T29" fmla="*/ 19338700 h 641"/>
                <a:gd name="T30" fmla="*/ 43713951 w 662"/>
                <a:gd name="T31" fmla="*/ 34141517 h 641"/>
                <a:gd name="T32" fmla="*/ 35114461 w 662"/>
                <a:gd name="T33" fmla="*/ 50138040 h 641"/>
                <a:gd name="T34" fmla="*/ 33680969 w 662"/>
                <a:gd name="T35" fmla="*/ 79743186 h 641"/>
                <a:gd name="T36" fmla="*/ 34158962 w 662"/>
                <a:gd name="T37" fmla="*/ 81653211 h 641"/>
                <a:gd name="T38" fmla="*/ 51118945 w 662"/>
                <a:gd name="T39" fmla="*/ 105528282 h 641"/>
                <a:gd name="T40" fmla="*/ 130902367 w 662"/>
                <a:gd name="T41" fmla="*/ 112929447 h 641"/>
                <a:gd name="T42" fmla="*/ 132335371 w 662"/>
                <a:gd name="T43" fmla="*/ 112690999 h 6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62" h="641">
                  <a:moveTo>
                    <a:pt x="554" y="472"/>
                  </a:moveTo>
                  <a:cubicBezTo>
                    <a:pt x="554" y="472"/>
                    <a:pt x="622" y="446"/>
                    <a:pt x="650" y="507"/>
                  </a:cubicBezTo>
                  <a:cubicBezTo>
                    <a:pt x="653" y="515"/>
                    <a:pt x="653" y="515"/>
                    <a:pt x="653" y="515"/>
                  </a:cubicBezTo>
                  <a:cubicBezTo>
                    <a:pt x="372" y="641"/>
                    <a:pt x="161" y="551"/>
                    <a:pt x="103" y="502"/>
                  </a:cubicBezTo>
                  <a:cubicBezTo>
                    <a:pt x="38" y="447"/>
                    <a:pt x="0" y="377"/>
                    <a:pt x="0" y="279"/>
                  </a:cubicBezTo>
                  <a:cubicBezTo>
                    <a:pt x="0" y="194"/>
                    <a:pt x="32" y="127"/>
                    <a:pt x="96" y="76"/>
                  </a:cubicBezTo>
                  <a:cubicBezTo>
                    <a:pt x="159" y="25"/>
                    <a:pt x="242" y="0"/>
                    <a:pt x="344" y="0"/>
                  </a:cubicBezTo>
                  <a:cubicBezTo>
                    <a:pt x="457" y="0"/>
                    <a:pt x="540" y="29"/>
                    <a:pt x="592" y="87"/>
                  </a:cubicBezTo>
                  <a:cubicBezTo>
                    <a:pt x="638" y="139"/>
                    <a:pt x="662" y="212"/>
                    <a:pt x="662" y="309"/>
                  </a:cubicBezTo>
                  <a:cubicBezTo>
                    <a:pt x="219" y="309"/>
                    <a:pt x="219" y="309"/>
                    <a:pt x="219" y="309"/>
                  </a:cubicBezTo>
                  <a:cubicBezTo>
                    <a:pt x="216" y="283"/>
                    <a:pt x="237" y="238"/>
                    <a:pt x="295" y="238"/>
                  </a:cubicBezTo>
                  <a:cubicBezTo>
                    <a:pt x="309" y="238"/>
                    <a:pt x="309" y="238"/>
                    <a:pt x="309" y="238"/>
                  </a:cubicBezTo>
                  <a:cubicBezTo>
                    <a:pt x="518" y="238"/>
                    <a:pt x="518" y="238"/>
                    <a:pt x="518" y="238"/>
                  </a:cubicBezTo>
                  <a:cubicBezTo>
                    <a:pt x="518" y="196"/>
                    <a:pt x="504" y="158"/>
                    <a:pt x="476" y="130"/>
                  </a:cubicBezTo>
                  <a:cubicBezTo>
                    <a:pt x="443" y="97"/>
                    <a:pt x="397" y="81"/>
                    <a:pt x="338" y="81"/>
                  </a:cubicBezTo>
                  <a:cubicBezTo>
                    <a:pt x="271" y="81"/>
                    <a:pt x="219" y="102"/>
                    <a:pt x="183" y="143"/>
                  </a:cubicBezTo>
                  <a:cubicBezTo>
                    <a:pt x="164" y="164"/>
                    <a:pt x="152" y="187"/>
                    <a:pt x="147" y="210"/>
                  </a:cubicBezTo>
                  <a:cubicBezTo>
                    <a:pt x="147" y="210"/>
                    <a:pt x="126" y="264"/>
                    <a:pt x="141" y="334"/>
                  </a:cubicBezTo>
                  <a:cubicBezTo>
                    <a:pt x="143" y="342"/>
                    <a:pt x="143" y="342"/>
                    <a:pt x="143" y="342"/>
                  </a:cubicBezTo>
                  <a:cubicBezTo>
                    <a:pt x="153" y="388"/>
                    <a:pt x="176" y="414"/>
                    <a:pt x="214" y="442"/>
                  </a:cubicBezTo>
                  <a:cubicBezTo>
                    <a:pt x="246" y="466"/>
                    <a:pt x="377" y="520"/>
                    <a:pt x="548" y="473"/>
                  </a:cubicBezTo>
                  <a:lnTo>
                    <a:pt x="554" y="4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51" name="Freeform 39"/>
            <p:cNvSpPr>
              <a:spLocks/>
            </p:cNvSpPr>
            <p:nvPr/>
          </p:nvSpPr>
          <p:spPr bwMode="auto">
            <a:xfrm>
              <a:off x="249013" y="231992"/>
              <a:ext cx="277211" cy="277625"/>
            </a:xfrm>
            <a:custGeom>
              <a:avLst/>
              <a:gdLst>
                <a:gd name="T0" fmla="*/ 110193573 w 567"/>
                <a:gd name="T1" fmla="*/ 17201019 h 568"/>
                <a:gd name="T2" fmla="*/ 122623088 w 567"/>
                <a:gd name="T3" fmla="*/ 239012 h 568"/>
                <a:gd name="T4" fmla="*/ 71709157 w 567"/>
                <a:gd name="T5" fmla="*/ 239012 h 568"/>
                <a:gd name="T6" fmla="*/ 67406764 w 567"/>
                <a:gd name="T7" fmla="*/ 239012 h 568"/>
                <a:gd name="T8" fmla="*/ 44698929 w 567"/>
                <a:gd name="T9" fmla="*/ 2150127 h 568"/>
                <a:gd name="T10" fmla="*/ 26054412 w 567"/>
                <a:gd name="T11" fmla="*/ 8122486 h 568"/>
                <a:gd name="T12" fmla="*/ 7170818 w 567"/>
                <a:gd name="T13" fmla="*/ 33685004 h 568"/>
                <a:gd name="T14" fmla="*/ 21991095 w 567"/>
                <a:gd name="T15" fmla="*/ 57097882 h 568"/>
                <a:gd name="T16" fmla="*/ 60714098 w 567"/>
                <a:gd name="T17" fmla="*/ 71670751 h 568"/>
                <a:gd name="T18" fmla="*/ 94178404 w 567"/>
                <a:gd name="T19" fmla="*/ 84093492 h 568"/>
                <a:gd name="T20" fmla="*/ 102066450 w 567"/>
                <a:gd name="T21" fmla="*/ 97233268 h 568"/>
                <a:gd name="T22" fmla="*/ 88202478 w 567"/>
                <a:gd name="T23" fmla="*/ 113717742 h 568"/>
                <a:gd name="T24" fmla="*/ 59040565 w 567"/>
                <a:gd name="T25" fmla="*/ 118734543 h 568"/>
                <a:gd name="T26" fmla="*/ 36571807 w 567"/>
                <a:gd name="T27" fmla="*/ 117061950 h 568"/>
                <a:gd name="T28" fmla="*/ 32030338 w 567"/>
                <a:gd name="T29" fmla="*/ 116106392 h 568"/>
                <a:gd name="T30" fmla="*/ 25576259 w 567"/>
                <a:gd name="T31" fmla="*/ 114911822 h 568"/>
                <a:gd name="T32" fmla="*/ 23185987 w 567"/>
                <a:gd name="T33" fmla="*/ 114673300 h 568"/>
                <a:gd name="T34" fmla="*/ 956305 w 567"/>
                <a:gd name="T35" fmla="*/ 124706902 h 568"/>
                <a:gd name="T36" fmla="*/ 0 w 567"/>
                <a:gd name="T37" fmla="*/ 126618017 h 568"/>
                <a:gd name="T38" fmla="*/ 1673044 w 567"/>
                <a:gd name="T39" fmla="*/ 127096041 h 568"/>
                <a:gd name="T40" fmla="*/ 4302393 w 567"/>
                <a:gd name="T41" fmla="*/ 128051599 h 568"/>
                <a:gd name="T42" fmla="*/ 34181534 w 567"/>
                <a:gd name="T43" fmla="*/ 134262969 h 568"/>
                <a:gd name="T44" fmla="*/ 54977248 w 567"/>
                <a:gd name="T45" fmla="*/ 135696550 h 568"/>
                <a:gd name="T46" fmla="*/ 119515587 w 567"/>
                <a:gd name="T47" fmla="*/ 122556774 h 568"/>
                <a:gd name="T48" fmla="*/ 135530756 w 567"/>
                <a:gd name="T49" fmla="*/ 96277711 h 568"/>
                <a:gd name="T50" fmla="*/ 119276511 w 567"/>
                <a:gd name="T51" fmla="*/ 70237170 h 568"/>
                <a:gd name="T52" fmla="*/ 76012038 w 567"/>
                <a:gd name="T53" fmla="*/ 53753186 h 568"/>
                <a:gd name="T54" fmla="*/ 48762246 w 567"/>
                <a:gd name="T55" fmla="*/ 43480083 h 568"/>
                <a:gd name="T56" fmla="*/ 40635124 w 567"/>
                <a:gd name="T57" fmla="*/ 32012900 h 568"/>
                <a:gd name="T58" fmla="*/ 48762246 w 567"/>
                <a:gd name="T59" fmla="*/ 20784728 h 568"/>
                <a:gd name="T60" fmla="*/ 66689535 w 567"/>
                <a:gd name="T61" fmla="*/ 17201019 h 568"/>
                <a:gd name="T62" fmla="*/ 67884916 w 567"/>
                <a:gd name="T63" fmla="*/ 17201019 h 568"/>
                <a:gd name="T64" fmla="*/ 106368843 w 567"/>
                <a:gd name="T65" fmla="*/ 17201019 h 568"/>
                <a:gd name="T66" fmla="*/ 110193573 w 567"/>
                <a:gd name="T67" fmla="*/ 17201019 h 5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7" h="568">
                  <a:moveTo>
                    <a:pt x="461" y="72"/>
                  </a:moveTo>
                  <a:cubicBezTo>
                    <a:pt x="475" y="31"/>
                    <a:pt x="495" y="12"/>
                    <a:pt x="513" y="1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282" y="1"/>
                    <a:pt x="282" y="1"/>
                    <a:pt x="282" y="1"/>
                  </a:cubicBezTo>
                  <a:cubicBezTo>
                    <a:pt x="226" y="0"/>
                    <a:pt x="187" y="9"/>
                    <a:pt x="187" y="9"/>
                  </a:cubicBezTo>
                  <a:cubicBezTo>
                    <a:pt x="155" y="14"/>
                    <a:pt x="132" y="23"/>
                    <a:pt x="109" y="34"/>
                  </a:cubicBezTo>
                  <a:cubicBezTo>
                    <a:pt x="55" y="61"/>
                    <a:pt x="30" y="95"/>
                    <a:pt x="30" y="141"/>
                  </a:cubicBezTo>
                  <a:cubicBezTo>
                    <a:pt x="30" y="181"/>
                    <a:pt x="51" y="214"/>
                    <a:pt x="92" y="239"/>
                  </a:cubicBezTo>
                  <a:cubicBezTo>
                    <a:pt x="124" y="259"/>
                    <a:pt x="178" y="279"/>
                    <a:pt x="254" y="300"/>
                  </a:cubicBezTo>
                  <a:cubicBezTo>
                    <a:pt x="323" y="318"/>
                    <a:pt x="370" y="336"/>
                    <a:pt x="394" y="352"/>
                  </a:cubicBezTo>
                  <a:cubicBezTo>
                    <a:pt x="416" y="367"/>
                    <a:pt x="427" y="386"/>
                    <a:pt x="427" y="407"/>
                  </a:cubicBezTo>
                  <a:cubicBezTo>
                    <a:pt x="427" y="435"/>
                    <a:pt x="408" y="458"/>
                    <a:pt x="369" y="476"/>
                  </a:cubicBezTo>
                  <a:cubicBezTo>
                    <a:pt x="335" y="490"/>
                    <a:pt x="294" y="497"/>
                    <a:pt x="247" y="497"/>
                  </a:cubicBezTo>
                  <a:cubicBezTo>
                    <a:pt x="217" y="497"/>
                    <a:pt x="186" y="495"/>
                    <a:pt x="153" y="490"/>
                  </a:cubicBezTo>
                  <a:cubicBezTo>
                    <a:pt x="134" y="486"/>
                    <a:pt x="134" y="486"/>
                    <a:pt x="134" y="486"/>
                  </a:cubicBezTo>
                  <a:cubicBezTo>
                    <a:pt x="124" y="485"/>
                    <a:pt x="117" y="484"/>
                    <a:pt x="107" y="481"/>
                  </a:cubicBezTo>
                  <a:cubicBezTo>
                    <a:pt x="97" y="480"/>
                    <a:pt x="97" y="480"/>
                    <a:pt x="97" y="480"/>
                  </a:cubicBezTo>
                  <a:cubicBezTo>
                    <a:pt x="97" y="480"/>
                    <a:pt x="28" y="468"/>
                    <a:pt x="4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3" y="531"/>
                    <a:pt x="5" y="532"/>
                    <a:pt x="7" y="532"/>
                  </a:cubicBezTo>
                  <a:cubicBezTo>
                    <a:pt x="18" y="536"/>
                    <a:pt x="18" y="536"/>
                    <a:pt x="18" y="536"/>
                  </a:cubicBezTo>
                  <a:cubicBezTo>
                    <a:pt x="58" y="548"/>
                    <a:pt x="113" y="558"/>
                    <a:pt x="143" y="562"/>
                  </a:cubicBezTo>
                  <a:cubicBezTo>
                    <a:pt x="174" y="566"/>
                    <a:pt x="203" y="568"/>
                    <a:pt x="230" y="568"/>
                  </a:cubicBezTo>
                  <a:cubicBezTo>
                    <a:pt x="352" y="568"/>
                    <a:pt x="442" y="550"/>
                    <a:pt x="500" y="513"/>
                  </a:cubicBezTo>
                  <a:cubicBezTo>
                    <a:pt x="545" y="484"/>
                    <a:pt x="567" y="448"/>
                    <a:pt x="567" y="403"/>
                  </a:cubicBezTo>
                  <a:cubicBezTo>
                    <a:pt x="567" y="359"/>
                    <a:pt x="544" y="323"/>
                    <a:pt x="499" y="294"/>
                  </a:cubicBezTo>
                  <a:cubicBezTo>
                    <a:pt x="464" y="272"/>
                    <a:pt x="404" y="249"/>
                    <a:pt x="318" y="225"/>
                  </a:cubicBezTo>
                  <a:cubicBezTo>
                    <a:pt x="265" y="210"/>
                    <a:pt x="226" y="196"/>
                    <a:pt x="204" y="182"/>
                  </a:cubicBezTo>
                  <a:cubicBezTo>
                    <a:pt x="181" y="169"/>
                    <a:pt x="170" y="153"/>
                    <a:pt x="170" y="134"/>
                  </a:cubicBezTo>
                  <a:cubicBezTo>
                    <a:pt x="170" y="112"/>
                    <a:pt x="185" y="97"/>
                    <a:pt x="204" y="87"/>
                  </a:cubicBezTo>
                  <a:cubicBezTo>
                    <a:pt x="204" y="87"/>
                    <a:pt x="222" y="73"/>
                    <a:pt x="279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445" y="72"/>
                    <a:pt x="445" y="72"/>
                    <a:pt x="445" y="72"/>
                  </a:cubicBezTo>
                  <a:lnTo>
                    <a:pt x="461" y="72"/>
                  </a:lnTo>
                  <a:close/>
                </a:path>
              </a:pathLst>
            </a:custGeom>
            <a:solidFill>
              <a:srgbClr val="004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0243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276350" y="293688"/>
            <a:ext cx="77597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</a:p>
        </p:txBody>
      </p:sp>
      <p:sp>
        <p:nvSpPr>
          <p:cNvPr id="10244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1276350" y="1676400"/>
            <a:ext cx="7759700" cy="504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8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74725" rtl="0" eaLnBrk="0" fontAlgn="base" hangingPunct="0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+mj-lt"/>
          <a:ea typeface="+mj-ea"/>
          <a:cs typeface="+mj-cs"/>
        </a:defRPr>
      </a:lvl1pPr>
      <a:lvl2pPr algn="l" defTabSz="974725" rtl="0" eaLnBrk="0" fontAlgn="base" hangingPunct="0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2pPr>
      <a:lvl3pPr algn="l" defTabSz="974725" rtl="0" eaLnBrk="0" fontAlgn="base" hangingPunct="0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3pPr>
      <a:lvl4pPr algn="l" defTabSz="974725" rtl="0" eaLnBrk="0" fontAlgn="base" hangingPunct="0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4pPr>
      <a:lvl5pPr algn="l" defTabSz="974725" rtl="0" eaLnBrk="0" fontAlgn="base" hangingPunct="0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5pPr>
      <a:lvl6pPr marL="457200" algn="l" defTabSz="974725" rtl="0" fontAlgn="base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6pPr>
      <a:lvl7pPr marL="914400" algn="l" defTabSz="974725" rtl="0" fontAlgn="base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7pPr>
      <a:lvl8pPr marL="1371600" algn="l" defTabSz="974725" rtl="0" fontAlgn="base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8pPr>
      <a:lvl9pPr marL="1828800" algn="l" defTabSz="974725" rtl="0" fontAlgn="base">
        <a:spcBef>
          <a:spcPct val="0"/>
        </a:spcBef>
        <a:spcAft>
          <a:spcPct val="0"/>
        </a:spcAft>
        <a:defRPr sz="4700">
          <a:solidFill>
            <a:srgbClr val="00519E"/>
          </a:solidFill>
          <a:latin typeface="Arial Narrow" charset="0"/>
          <a:ea typeface="ＭＳ Ｐゴシック" charset="0"/>
        </a:defRPr>
      </a:lvl9pPr>
    </p:titleStyle>
    <p:bodyStyle>
      <a:lvl1pPr marL="365125" indent="-365125" algn="l" defTabSz="974725" rtl="0" eaLnBrk="0" fontAlgn="base" hangingPunct="0">
        <a:spcBef>
          <a:spcPts val="1200"/>
        </a:spcBef>
        <a:spcAft>
          <a:spcPct val="0"/>
        </a:spcAft>
        <a:buBlip>
          <a:blip r:embed="rId14"/>
        </a:buBlip>
        <a:defRPr sz="2400">
          <a:solidFill>
            <a:srgbClr val="00519E"/>
          </a:solidFill>
          <a:latin typeface="+mn-lt"/>
          <a:ea typeface="+mn-ea"/>
          <a:cs typeface="+mn-cs"/>
        </a:defRPr>
      </a:lvl1pPr>
      <a:lvl2pPr marL="792163" indent="-303213" algn="l" defTabSz="974725" rtl="0" eaLnBrk="0" fontAlgn="base" hangingPunct="0">
        <a:spcBef>
          <a:spcPts val="600"/>
        </a:spcBef>
        <a:spcAft>
          <a:spcPct val="0"/>
        </a:spcAft>
        <a:buBlip>
          <a:blip r:embed="rId15"/>
        </a:buBlip>
        <a:defRPr sz="2000">
          <a:solidFill>
            <a:srgbClr val="00519E"/>
          </a:solidFill>
          <a:latin typeface="+mn-lt"/>
          <a:ea typeface="+mn-ea"/>
        </a:defRPr>
      </a:lvl2pPr>
      <a:lvl3pPr marL="1217613" indent="-242888" algn="l" defTabSz="974725" rtl="0" eaLnBrk="0" fontAlgn="base" hangingPunct="0">
        <a:spcBef>
          <a:spcPts val="600"/>
        </a:spcBef>
        <a:spcAft>
          <a:spcPct val="0"/>
        </a:spcAft>
        <a:buBlip>
          <a:blip r:embed="rId15"/>
        </a:buBlip>
        <a:defRPr>
          <a:solidFill>
            <a:srgbClr val="00519E"/>
          </a:solidFill>
          <a:latin typeface="+mn-lt"/>
          <a:ea typeface="+mn-ea"/>
        </a:defRPr>
      </a:lvl3pPr>
      <a:lvl4pPr marL="1706563" indent="-242888" algn="l" defTabSz="974725" rtl="0" eaLnBrk="0" fontAlgn="base" hangingPunct="0">
        <a:spcBef>
          <a:spcPts val="600"/>
        </a:spcBef>
        <a:spcAft>
          <a:spcPct val="0"/>
        </a:spcAft>
        <a:buBlip>
          <a:blip r:embed="rId15"/>
        </a:buBlip>
        <a:defRPr sz="1600">
          <a:solidFill>
            <a:srgbClr val="00519E"/>
          </a:solidFill>
          <a:latin typeface="+mn-lt"/>
          <a:ea typeface="+mn-ea"/>
        </a:defRPr>
      </a:lvl4pPr>
      <a:lvl5pPr marL="2193925" indent="-242888" algn="l" defTabSz="974725" rtl="0" eaLnBrk="0" fontAlgn="base" hangingPunct="0">
        <a:spcBef>
          <a:spcPts val="600"/>
        </a:spcBef>
        <a:spcAft>
          <a:spcPct val="0"/>
        </a:spcAft>
        <a:buBlip>
          <a:blip r:embed="rId15"/>
        </a:buBlip>
        <a:defRPr sz="1600">
          <a:solidFill>
            <a:srgbClr val="00519E"/>
          </a:solidFill>
          <a:latin typeface="+mn-lt"/>
          <a:ea typeface="+mn-ea"/>
        </a:defRPr>
      </a:lvl5pPr>
      <a:lvl6pPr marL="2651125" indent="-242888" algn="l" defTabSz="974725" rtl="0" fontAlgn="base">
        <a:spcBef>
          <a:spcPts val="600"/>
        </a:spcBef>
        <a:spcAft>
          <a:spcPct val="0"/>
        </a:spcAft>
        <a:buBlip>
          <a:blip r:embed="rId15"/>
        </a:buBlip>
        <a:defRPr sz="1600">
          <a:solidFill>
            <a:srgbClr val="00519E"/>
          </a:solidFill>
          <a:latin typeface="+mn-lt"/>
          <a:ea typeface="+mn-ea"/>
        </a:defRPr>
      </a:lvl6pPr>
      <a:lvl7pPr marL="3108325" indent="-242888" algn="l" defTabSz="974725" rtl="0" fontAlgn="base">
        <a:spcBef>
          <a:spcPts val="600"/>
        </a:spcBef>
        <a:spcAft>
          <a:spcPct val="0"/>
        </a:spcAft>
        <a:buBlip>
          <a:blip r:embed="rId15"/>
        </a:buBlip>
        <a:defRPr sz="1600">
          <a:solidFill>
            <a:srgbClr val="00519E"/>
          </a:solidFill>
          <a:latin typeface="+mn-lt"/>
          <a:ea typeface="+mn-ea"/>
        </a:defRPr>
      </a:lvl7pPr>
      <a:lvl8pPr marL="3565525" indent="-242888" algn="l" defTabSz="974725" rtl="0" fontAlgn="base">
        <a:spcBef>
          <a:spcPts val="600"/>
        </a:spcBef>
        <a:spcAft>
          <a:spcPct val="0"/>
        </a:spcAft>
        <a:buBlip>
          <a:blip r:embed="rId15"/>
        </a:buBlip>
        <a:defRPr sz="1600">
          <a:solidFill>
            <a:srgbClr val="00519E"/>
          </a:solidFill>
          <a:latin typeface="+mn-lt"/>
          <a:ea typeface="+mn-ea"/>
        </a:defRPr>
      </a:lvl8pPr>
      <a:lvl9pPr marL="4022725" indent="-242888" algn="l" defTabSz="974725" rtl="0" fontAlgn="base">
        <a:spcBef>
          <a:spcPts val="600"/>
        </a:spcBef>
        <a:spcAft>
          <a:spcPct val="0"/>
        </a:spcAft>
        <a:buBlip>
          <a:blip r:embed="rId15"/>
        </a:buBlip>
        <a:defRPr sz="1600">
          <a:solidFill>
            <a:srgbClr val="00519E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12" Type="http://schemas.openxmlformats.org/officeDocument/2006/relationships/image" Target="../media/image8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emf"/><Relationship Id="rId15" Type="http://schemas.openxmlformats.org/officeDocument/2006/relationships/image" Target="../media/image10.png"/><Relationship Id="rId10" Type="http://schemas.openxmlformats.org/officeDocument/2006/relationships/image" Target="../media/image79.png"/><Relationship Id="rId4" Type="http://schemas.openxmlformats.org/officeDocument/2006/relationships/image" Target="../media/image73.emf"/><Relationship Id="rId9" Type="http://schemas.openxmlformats.org/officeDocument/2006/relationships/image" Target="../media/image78.png"/><Relationship Id="rId14" Type="http://schemas.openxmlformats.org/officeDocument/2006/relationships/image" Target="../media/image8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10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png"/><Relationship Id="rId11" Type="http://schemas.openxmlformats.org/officeDocument/2006/relationships/image" Target="../media/image88.png"/><Relationship Id="rId5" Type="http://schemas.openxmlformats.org/officeDocument/2006/relationships/image" Target="../media/image2.png"/><Relationship Id="rId10" Type="http://schemas.openxmlformats.org/officeDocument/2006/relationships/image" Target="../media/image87.png"/><Relationship Id="rId4" Type="http://schemas.openxmlformats.org/officeDocument/2006/relationships/image" Target="../media/image11.png"/><Relationship Id="rId9" Type="http://schemas.openxmlformats.org/officeDocument/2006/relationships/image" Target="../media/image8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2.xml"/><Relationship Id="rId6" Type="http://schemas.openxmlformats.org/officeDocument/2006/relationships/image" Target="../media/image3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9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9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6.jpg"/><Relationship Id="rId5" Type="http://schemas.openxmlformats.org/officeDocument/2006/relationships/image" Target="../media/image95.jpg"/><Relationship Id="rId4" Type="http://schemas.openxmlformats.org/officeDocument/2006/relationships/image" Target="../media/image94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00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3.jpg"/><Relationship Id="rId5" Type="http://schemas.openxmlformats.org/officeDocument/2006/relationships/image" Target="../media/image102.jpe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g"/><Relationship Id="rId4" Type="http://schemas.openxmlformats.org/officeDocument/2006/relationships/image" Target="../media/image6.gi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1.png"/><Relationship Id="rId7" Type="http://schemas.openxmlformats.org/officeDocument/2006/relationships/image" Target="../media/image105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10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11.png"/><Relationship Id="rId7" Type="http://schemas.openxmlformats.org/officeDocument/2006/relationships/image" Target="../media/image109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8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9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jpg"/><Relationship Id="rId3" Type="http://schemas.openxmlformats.org/officeDocument/2006/relationships/image" Target="../media/image123.png"/><Relationship Id="rId7" Type="http://schemas.openxmlformats.org/officeDocument/2006/relationships/image" Target="../media/image125.JP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4.jpg"/><Relationship Id="rId5" Type="http://schemas.openxmlformats.org/officeDocument/2006/relationships/hyperlink" Target="http://moodle.insa-lyon.fr/" TargetMode="External"/><Relationship Id="rId4" Type="http://schemas.openxmlformats.org/officeDocument/2006/relationships/hyperlink" Target="mailto:damien.lornage@stef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63" Type="http://schemas.openxmlformats.org/officeDocument/2006/relationships/tags" Target="../tags/tag65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159" Type="http://schemas.openxmlformats.org/officeDocument/2006/relationships/tags" Target="../tags/tag161.xml"/><Relationship Id="rId170" Type="http://schemas.openxmlformats.org/officeDocument/2006/relationships/tags" Target="../tags/tag172.xml"/><Relationship Id="rId191" Type="http://schemas.openxmlformats.org/officeDocument/2006/relationships/tags" Target="../tags/tag193.xml"/><Relationship Id="rId205" Type="http://schemas.openxmlformats.org/officeDocument/2006/relationships/tags" Target="../tags/tag207.xml"/><Relationship Id="rId226" Type="http://schemas.openxmlformats.org/officeDocument/2006/relationships/tags" Target="../tags/tag22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53" Type="http://schemas.openxmlformats.org/officeDocument/2006/relationships/tags" Target="../tags/tag55.xml"/><Relationship Id="rId74" Type="http://schemas.openxmlformats.org/officeDocument/2006/relationships/tags" Target="../tags/tag76.xml"/><Relationship Id="rId128" Type="http://schemas.openxmlformats.org/officeDocument/2006/relationships/tags" Target="../tags/tag130.xml"/><Relationship Id="rId149" Type="http://schemas.openxmlformats.org/officeDocument/2006/relationships/tags" Target="../tags/tag151.xml"/><Relationship Id="rId5" Type="http://schemas.openxmlformats.org/officeDocument/2006/relationships/tags" Target="../tags/tag7.xml"/><Relationship Id="rId95" Type="http://schemas.openxmlformats.org/officeDocument/2006/relationships/tags" Target="../tags/tag97.xml"/><Relationship Id="rId160" Type="http://schemas.openxmlformats.org/officeDocument/2006/relationships/tags" Target="../tags/tag162.xml"/><Relationship Id="rId181" Type="http://schemas.openxmlformats.org/officeDocument/2006/relationships/tags" Target="../tags/tag183.xml"/><Relationship Id="rId216" Type="http://schemas.openxmlformats.org/officeDocument/2006/relationships/tags" Target="../tags/tag218.xml"/><Relationship Id="rId237" Type="http://schemas.openxmlformats.org/officeDocument/2006/relationships/image" Target="../media/image11.png"/><Relationship Id="rId22" Type="http://schemas.openxmlformats.org/officeDocument/2006/relationships/tags" Target="../tags/tag24.xml"/><Relationship Id="rId43" Type="http://schemas.openxmlformats.org/officeDocument/2006/relationships/tags" Target="../tags/tag45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139" Type="http://schemas.openxmlformats.org/officeDocument/2006/relationships/tags" Target="../tags/tag141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171" Type="http://schemas.openxmlformats.org/officeDocument/2006/relationships/tags" Target="../tags/tag173.xml"/><Relationship Id="rId192" Type="http://schemas.openxmlformats.org/officeDocument/2006/relationships/tags" Target="../tags/tag194.xml"/><Relationship Id="rId206" Type="http://schemas.openxmlformats.org/officeDocument/2006/relationships/tags" Target="../tags/tag208.xml"/><Relationship Id="rId227" Type="http://schemas.openxmlformats.org/officeDocument/2006/relationships/tags" Target="../tags/tag229.xml"/><Relationship Id="rId12" Type="http://schemas.openxmlformats.org/officeDocument/2006/relationships/tags" Target="../tags/tag14.xml"/><Relationship Id="rId33" Type="http://schemas.openxmlformats.org/officeDocument/2006/relationships/tags" Target="../tags/tag35.xml"/><Relationship Id="rId108" Type="http://schemas.openxmlformats.org/officeDocument/2006/relationships/tags" Target="../tags/tag110.xml"/><Relationship Id="rId129" Type="http://schemas.openxmlformats.org/officeDocument/2006/relationships/tags" Target="../tags/tag131.xml"/><Relationship Id="rId54" Type="http://schemas.openxmlformats.org/officeDocument/2006/relationships/tags" Target="../tags/tag56.xml"/><Relationship Id="rId75" Type="http://schemas.openxmlformats.org/officeDocument/2006/relationships/tags" Target="../tags/tag77.xml"/><Relationship Id="rId96" Type="http://schemas.openxmlformats.org/officeDocument/2006/relationships/tags" Target="../tags/tag98.xml"/><Relationship Id="rId140" Type="http://schemas.openxmlformats.org/officeDocument/2006/relationships/tags" Target="../tags/tag142.xml"/><Relationship Id="rId161" Type="http://schemas.openxmlformats.org/officeDocument/2006/relationships/tags" Target="../tags/tag163.xml"/><Relationship Id="rId182" Type="http://schemas.openxmlformats.org/officeDocument/2006/relationships/tags" Target="../tags/tag184.xml"/><Relationship Id="rId217" Type="http://schemas.openxmlformats.org/officeDocument/2006/relationships/tags" Target="../tags/tag219.xml"/><Relationship Id="rId6" Type="http://schemas.openxmlformats.org/officeDocument/2006/relationships/tags" Target="../tags/tag8.xml"/><Relationship Id="rId238" Type="http://schemas.openxmlformats.org/officeDocument/2006/relationships/image" Target="../media/image20.emf"/><Relationship Id="rId23" Type="http://schemas.openxmlformats.org/officeDocument/2006/relationships/tags" Target="../tags/tag25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5" Type="http://schemas.openxmlformats.org/officeDocument/2006/relationships/tags" Target="../tags/tag67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51" Type="http://schemas.openxmlformats.org/officeDocument/2006/relationships/tags" Target="../tags/tag153.xml"/><Relationship Id="rId172" Type="http://schemas.openxmlformats.org/officeDocument/2006/relationships/tags" Target="../tags/tag174.xml"/><Relationship Id="rId193" Type="http://schemas.openxmlformats.org/officeDocument/2006/relationships/tags" Target="../tags/tag195.xml"/><Relationship Id="rId207" Type="http://schemas.openxmlformats.org/officeDocument/2006/relationships/tags" Target="../tags/tag209.xml"/><Relationship Id="rId228" Type="http://schemas.openxmlformats.org/officeDocument/2006/relationships/tags" Target="../tags/tag230.xml"/><Relationship Id="rId13" Type="http://schemas.openxmlformats.org/officeDocument/2006/relationships/tags" Target="../tags/tag15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20" Type="http://schemas.openxmlformats.org/officeDocument/2006/relationships/tags" Target="../tags/tag122.xml"/><Relationship Id="rId141" Type="http://schemas.openxmlformats.org/officeDocument/2006/relationships/tags" Target="../tags/tag143.xml"/><Relationship Id="rId7" Type="http://schemas.openxmlformats.org/officeDocument/2006/relationships/tags" Target="../tags/tag9.xml"/><Relationship Id="rId162" Type="http://schemas.openxmlformats.org/officeDocument/2006/relationships/tags" Target="../tags/tag164.xml"/><Relationship Id="rId183" Type="http://schemas.openxmlformats.org/officeDocument/2006/relationships/tags" Target="../tags/tag185.xml"/><Relationship Id="rId218" Type="http://schemas.openxmlformats.org/officeDocument/2006/relationships/tags" Target="../tags/tag220.xml"/><Relationship Id="rId239" Type="http://schemas.openxmlformats.org/officeDocument/2006/relationships/image" Target="../media/image21.png"/><Relationship Id="rId24" Type="http://schemas.openxmlformats.org/officeDocument/2006/relationships/tags" Target="../tags/tag26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31" Type="http://schemas.openxmlformats.org/officeDocument/2006/relationships/tags" Target="../tags/tag133.xml"/><Relationship Id="rId152" Type="http://schemas.openxmlformats.org/officeDocument/2006/relationships/tags" Target="../tags/tag154.xml"/><Relationship Id="rId173" Type="http://schemas.openxmlformats.org/officeDocument/2006/relationships/tags" Target="../tags/tag175.xml"/><Relationship Id="rId194" Type="http://schemas.openxmlformats.org/officeDocument/2006/relationships/tags" Target="../tags/tag196.xml"/><Relationship Id="rId208" Type="http://schemas.openxmlformats.org/officeDocument/2006/relationships/tags" Target="../tags/tag210.xml"/><Relationship Id="rId229" Type="http://schemas.openxmlformats.org/officeDocument/2006/relationships/tags" Target="../tags/tag231.xml"/><Relationship Id="rId240" Type="http://schemas.openxmlformats.org/officeDocument/2006/relationships/image" Target="../media/image22.png"/><Relationship Id="rId14" Type="http://schemas.openxmlformats.org/officeDocument/2006/relationships/tags" Target="../tags/tag16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8" Type="http://schemas.openxmlformats.org/officeDocument/2006/relationships/tags" Target="../tags/tag10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142" Type="http://schemas.openxmlformats.org/officeDocument/2006/relationships/tags" Target="../tags/tag144.xml"/><Relationship Id="rId163" Type="http://schemas.openxmlformats.org/officeDocument/2006/relationships/tags" Target="../tags/tag165.xml"/><Relationship Id="rId184" Type="http://schemas.openxmlformats.org/officeDocument/2006/relationships/tags" Target="../tags/tag186.xml"/><Relationship Id="rId219" Type="http://schemas.openxmlformats.org/officeDocument/2006/relationships/tags" Target="../tags/tag221.xml"/><Relationship Id="rId230" Type="http://schemas.openxmlformats.org/officeDocument/2006/relationships/tags" Target="../tags/tag232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3" Type="http://schemas.openxmlformats.org/officeDocument/2006/relationships/tags" Target="../tags/tag155.xml"/><Relationship Id="rId174" Type="http://schemas.openxmlformats.org/officeDocument/2006/relationships/tags" Target="../tags/tag176.xml"/><Relationship Id="rId195" Type="http://schemas.openxmlformats.org/officeDocument/2006/relationships/tags" Target="../tags/tag197.xml"/><Relationship Id="rId209" Type="http://schemas.openxmlformats.org/officeDocument/2006/relationships/tags" Target="../tags/tag211.xml"/><Relationship Id="rId220" Type="http://schemas.openxmlformats.org/officeDocument/2006/relationships/tags" Target="../tags/tag222.xml"/><Relationship Id="rId241" Type="http://schemas.openxmlformats.org/officeDocument/2006/relationships/image" Target="../media/image23.png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143" Type="http://schemas.openxmlformats.org/officeDocument/2006/relationships/tags" Target="../tags/tag145.xml"/><Relationship Id="rId148" Type="http://schemas.openxmlformats.org/officeDocument/2006/relationships/tags" Target="../tags/tag150.xml"/><Relationship Id="rId164" Type="http://schemas.openxmlformats.org/officeDocument/2006/relationships/tags" Target="../tags/tag166.xml"/><Relationship Id="rId169" Type="http://schemas.openxmlformats.org/officeDocument/2006/relationships/tags" Target="../tags/tag171.xml"/><Relationship Id="rId185" Type="http://schemas.openxmlformats.org/officeDocument/2006/relationships/tags" Target="../tags/tag187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80" Type="http://schemas.openxmlformats.org/officeDocument/2006/relationships/tags" Target="../tags/tag182.xml"/><Relationship Id="rId210" Type="http://schemas.openxmlformats.org/officeDocument/2006/relationships/tags" Target="../tags/tag212.xml"/><Relationship Id="rId215" Type="http://schemas.openxmlformats.org/officeDocument/2006/relationships/tags" Target="../tags/tag217.xml"/><Relationship Id="rId236" Type="http://schemas.openxmlformats.org/officeDocument/2006/relationships/image" Target="../media/image10.png"/><Relationship Id="rId26" Type="http://schemas.openxmlformats.org/officeDocument/2006/relationships/tags" Target="../tags/tag28.xml"/><Relationship Id="rId231" Type="http://schemas.openxmlformats.org/officeDocument/2006/relationships/tags" Target="../tags/tag233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tags" Target="../tags/tag135.xml"/><Relationship Id="rId154" Type="http://schemas.openxmlformats.org/officeDocument/2006/relationships/tags" Target="../tags/tag156.xml"/><Relationship Id="rId175" Type="http://schemas.openxmlformats.org/officeDocument/2006/relationships/tags" Target="../tags/tag177.xml"/><Relationship Id="rId196" Type="http://schemas.openxmlformats.org/officeDocument/2006/relationships/tags" Target="../tags/tag198.xml"/><Relationship Id="rId200" Type="http://schemas.openxmlformats.org/officeDocument/2006/relationships/tags" Target="../tags/tag202.xml"/><Relationship Id="rId16" Type="http://schemas.openxmlformats.org/officeDocument/2006/relationships/tags" Target="../tags/tag18.xml"/><Relationship Id="rId221" Type="http://schemas.openxmlformats.org/officeDocument/2006/relationships/tags" Target="../tags/tag223.xml"/><Relationship Id="rId37" Type="http://schemas.openxmlformats.org/officeDocument/2006/relationships/tags" Target="../tags/tag39.xml"/><Relationship Id="rId58" Type="http://schemas.openxmlformats.org/officeDocument/2006/relationships/tags" Target="../tags/tag60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44" Type="http://schemas.openxmlformats.org/officeDocument/2006/relationships/tags" Target="../tags/tag146.xml"/><Relationship Id="rId90" Type="http://schemas.openxmlformats.org/officeDocument/2006/relationships/tags" Target="../tags/tag92.xml"/><Relationship Id="rId165" Type="http://schemas.openxmlformats.org/officeDocument/2006/relationships/tags" Target="../tags/tag167.xml"/><Relationship Id="rId186" Type="http://schemas.openxmlformats.org/officeDocument/2006/relationships/tags" Target="../tags/tag188.xml"/><Relationship Id="rId211" Type="http://schemas.openxmlformats.org/officeDocument/2006/relationships/tags" Target="../tags/tag213.xml"/><Relationship Id="rId232" Type="http://schemas.openxmlformats.org/officeDocument/2006/relationships/tags" Target="../tags/tag234.xml"/><Relationship Id="rId27" Type="http://schemas.openxmlformats.org/officeDocument/2006/relationships/tags" Target="../tags/tag29.xml"/><Relationship Id="rId48" Type="http://schemas.openxmlformats.org/officeDocument/2006/relationships/tags" Target="../tags/tag50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34" Type="http://schemas.openxmlformats.org/officeDocument/2006/relationships/tags" Target="../tags/tag136.xml"/><Relationship Id="rId80" Type="http://schemas.openxmlformats.org/officeDocument/2006/relationships/tags" Target="../tags/tag82.xml"/><Relationship Id="rId155" Type="http://schemas.openxmlformats.org/officeDocument/2006/relationships/tags" Target="../tags/tag157.xml"/><Relationship Id="rId176" Type="http://schemas.openxmlformats.org/officeDocument/2006/relationships/tags" Target="../tags/tag178.xml"/><Relationship Id="rId197" Type="http://schemas.openxmlformats.org/officeDocument/2006/relationships/tags" Target="../tags/tag199.xml"/><Relationship Id="rId201" Type="http://schemas.openxmlformats.org/officeDocument/2006/relationships/tags" Target="../tags/tag203.xml"/><Relationship Id="rId222" Type="http://schemas.openxmlformats.org/officeDocument/2006/relationships/tags" Target="../tags/tag224.xml"/><Relationship Id="rId17" Type="http://schemas.openxmlformats.org/officeDocument/2006/relationships/tags" Target="../tags/tag19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24" Type="http://schemas.openxmlformats.org/officeDocument/2006/relationships/tags" Target="../tags/tag126.xml"/><Relationship Id="rId70" Type="http://schemas.openxmlformats.org/officeDocument/2006/relationships/tags" Target="../tags/tag72.xml"/><Relationship Id="rId91" Type="http://schemas.openxmlformats.org/officeDocument/2006/relationships/tags" Target="../tags/tag93.xml"/><Relationship Id="rId145" Type="http://schemas.openxmlformats.org/officeDocument/2006/relationships/tags" Target="../tags/tag147.xml"/><Relationship Id="rId166" Type="http://schemas.openxmlformats.org/officeDocument/2006/relationships/tags" Target="../tags/tag168.xml"/><Relationship Id="rId187" Type="http://schemas.openxmlformats.org/officeDocument/2006/relationships/tags" Target="../tags/tag189.xml"/><Relationship Id="rId1" Type="http://schemas.openxmlformats.org/officeDocument/2006/relationships/tags" Target="../tags/tag3.xml"/><Relationship Id="rId212" Type="http://schemas.openxmlformats.org/officeDocument/2006/relationships/tags" Target="../tags/tag214.xml"/><Relationship Id="rId233" Type="http://schemas.openxmlformats.org/officeDocument/2006/relationships/tags" Target="../tags/tag235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60" Type="http://schemas.openxmlformats.org/officeDocument/2006/relationships/tags" Target="../tags/tag62.xml"/><Relationship Id="rId81" Type="http://schemas.openxmlformats.org/officeDocument/2006/relationships/tags" Target="../tags/tag83.xml"/><Relationship Id="rId135" Type="http://schemas.openxmlformats.org/officeDocument/2006/relationships/tags" Target="../tags/tag137.xml"/><Relationship Id="rId156" Type="http://schemas.openxmlformats.org/officeDocument/2006/relationships/tags" Target="../tags/tag158.xml"/><Relationship Id="rId177" Type="http://schemas.openxmlformats.org/officeDocument/2006/relationships/tags" Target="../tags/tag179.xml"/><Relationship Id="rId198" Type="http://schemas.openxmlformats.org/officeDocument/2006/relationships/tags" Target="../tags/tag200.xml"/><Relationship Id="rId202" Type="http://schemas.openxmlformats.org/officeDocument/2006/relationships/tags" Target="../tags/tag204.xml"/><Relationship Id="rId223" Type="http://schemas.openxmlformats.org/officeDocument/2006/relationships/tags" Target="../tags/tag22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50" Type="http://schemas.openxmlformats.org/officeDocument/2006/relationships/tags" Target="../tags/tag52.xml"/><Relationship Id="rId104" Type="http://schemas.openxmlformats.org/officeDocument/2006/relationships/tags" Target="../tags/tag106.xml"/><Relationship Id="rId125" Type="http://schemas.openxmlformats.org/officeDocument/2006/relationships/tags" Target="../tags/tag127.xml"/><Relationship Id="rId146" Type="http://schemas.openxmlformats.org/officeDocument/2006/relationships/tags" Target="../tags/tag148.xml"/><Relationship Id="rId167" Type="http://schemas.openxmlformats.org/officeDocument/2006/relationships/tags" Target="../tags/tag169.xml"/><Relationship Id="rId188" Type="http://schemas.openxmlformats.org/officeDocument/2006/relationships/tags" Target="../tags/tag190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13" Type="http://schemas.openxmlformats.org/officeDocument/2006/relationships/tags" Target="../tags/tag215.xml"/><Relationship Id="rId234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40" Type="http://schemas.openxmlformats.org/officeDocument/2006/relationships/tags" Target="../tags/tag42.xml"/><Relationship Id="rId115" Type="http://schemas.openxmlformats.org/officeDocument/2006/relationships/tags" Target="../tags/tag117.xml"/><Relationship Id="rId136" Type="http://schemas.openxmlformats.org/officeDocument/2006/relationships/tags" Target="../tags/tag138.xml"/><Relationship Id="rId157" Type="http://schemas.openxmlformats.org/officeDocument/2006/relationships/tags" Target="../tags/tag159.xml"/><Relationship Id="rId178" Type="http://schemas.openxmlformats.org/officeDocument/2006/relationships/tags" Target="../tags/tag180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9" Type="http://schemas.openxmlformats.org/officeDocument/2006/relationships/tags" Target="../tags/tag201.xml"/><Relationship Id="rId203" Type="http://schemas.openxmlformats.org/officeDocument/2006/relationships/tags" Target="../tags/tag205.xml"/><Relationship Id="rId19" Type="http://schemas.openxmlformats.org/officeDocument/2006/relationships/tags" Target="../tags/tag21.xml"/><Relationship Id="rId224" Type="http://schemas.openxmlformats.org/officeDocument/2006/relationships/tags" Target="../tags/tag226.xml"/><Relationship Id="rId30" Type="http://schemas.openxmlformats.org/officeDocument/2006/relationships/tags" Target="../tags/tag3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147" Type="http://schemas.openxmlformats.org/officeDocument/2006/relationships/tags" Target="../tags/tag149.xml"/><Relationship Id="rId168" Type="http://schemas.openxmlformats.org/officeDocument/2006/relationships/tags" Target="../tags/tag17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189" Type="http://schemas.openxmlformats.org/officeDocument/2006/relationships/tags" Target="../tags/tag191.xml"/><Relationship Id="rId3" Type="http://schemas.openxmlformats.org/officeDocument/2006/relationships/tags" Target="../tags/tag5.xml"/><Relationship Id="rId214" Type="http://schemas.openxmlformats.org/officeDocument/2006/relationships/tags" Target="../tags/tag216.xml"/><Relationship Id="rId235" Type="http://schemas.openxmlformats.org/officeDocument/2006/relationships/notesSlide" Target="../notesSlides/notesSlide4.xml"/><Relationship Id="rId116" Type="http://schemas.openxmlformats.org/officeDocument/2006/relationships/tags" Target="../tags/tag118.xml"/><Relationship Id="rId137" Type="http://schemas.openxmlformats.org/officeDocument/2006/relationships/tags" Target="../tags/tag139.xml"/><Relationship Id="rId158" Type="http://schemas.openxmlformats.org/officeDocument/2006/relationships/tags" Target="../tags/tag160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179" Type="http://schemas.openxmlformats.org/officeDocument/2006/relationships/tags" Target="../tags/tag181.xml"/><Relationship Id="rId190" Type="http://schemas.openxmlformats.org/officeDocument/2006/relationships/tags" Target="../tags/tag192.xml"/><Relationship Id="rId204" Type="http://schemas.openxmlformats.org/officeDocument/2006/relationships/tags" Target="../tags/tag206.xml"/><Relationship Id="rId225" Type="http://schemas.openxmlformats.org/officeDocument/2006/relationships/tags" Target="../tags/tag227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48.xml"/><Relationship Id="rId18" Type="http://schemas.openxmlformats.org/officeDocument/2006/relationships/tags" Target="../tags/tag253.xml"/><Relationship Id="rId26" Type="http://schemas.openxmlformats.org/officeDocument/2006/relationships/tags" Target="../tags/tag261.xml"/><Relationship Id="rId39" Type="http://schemas.openxmlformats.org/officeDocument/2006/relationships/notesSlide" Target="../notesSlides/notesSlide5.xml"/><Relationship Id="rId21" Type="http://schemas.openxmlformats.org/officeDocument/2006/relationships/tags" Target="../tags/tag256.xml"/><Relationship Id="rId34" Type="http://schemas.openxmlformats.org/officeDocument/2006/relationships/tags" Target="../tags/tag269.xml"/><Relationship Id="rId42" Type="http://schemas.openxmlformats.org/officeDocument/2006/relationships/image" Target="../media/image24.png"/><Relationship Id="rId47" Type="http://schemas.openxmlformats.org/officeDocument/2006/relationships/image" Target="../media/image29.png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6" Type="http://schemas.openxmlformats.org/officeDocument/2006/relationships/tags" Target="../tags/tag251.xml"/><Relationship Id="rId29" Type="http://schemas.openxmlformats.org/officeDocument/2006/relationships/tags" Target="../tags/tag264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24" Type="http://schemas.openxmlformats.org/officeDocument/2006/relationships/tags" Target="../tags/tag259.xml"/><Relationship Id="rId32" Type="http://schemas.openxmlformats.org/officeDocument/2006/relationships/tags" Target="../tags/tag267.xml"/><Relationship Id="rId37" Type="http://schemas.openxmlformats.org/officeDocument/2006/relationships/tags" Target="../tags/tag272.xml"/><Relationship Id="rId40" Type="http://schemas.openxmlformats.org/officeDocument/2006/relationships/image" Target="../media/image10.png"/><Relationship Id="rId45" Type="http://schemas.openxmlformats.org/officeDocument/2006/relationships/image" Target="../media/image27.png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23" Type="http://schemas.openxmlformats.org/officeDocument/2006/relationships/tags" Target="../tags/tag258.xml"/><Relationship Id="rId28" Type="http://schemas.openxmlformats.org/officeDocument/2006/relationships/tags" Target="../tags/tag263.xml"/><Relationship Id="rId36" Type="http://schemas.openxmlformats.org/officeDocument/2006/relationships/tags" Target="../tags/tag271.xml"/><Relationship Id="rId10" Type="http://schemas.openxmlformats.org/officeDocument/2006/relationships/tags" Target="../tags/tag245.xml"/><Relationship Id="rId19" Type="http://schemas.openxmlformats.org/officeDocument/2006/relationships/tags" Target="../tags/tag254.xml"/><Relationship Id="rId31" Type="http://schemas.openxmlformats.org/officeDocument/2006/relationships/tags" Target="../tags/tag266.xml"/><Relationship Id="rId44" Type="http://schemas.openxmlformats.org/officeDocument/2006/relationships/image" Target="../media/image26.png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Relationship Id="rId22" Type="http://schemas.openxmlformats.org/officeDocument/2006/relationships/tags" Target="../tags/tag257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tags" Target="../tags/tag270.xml"/><Relationship Id="rId43" Type="http://schemas.openxmlformats.org/officeDocument/2006/relationships/image" Target="../media/image25.png"/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12" Type="http://schemas.openxmlformats.org/officeDocument/2006/relationships/tags" Target="../tags/tag247.xml"/><Relationship Id="rId17" Type="http://schemas.openxmlformats.org/officeDocument/2006/relationships/tags" Target="../tags/tag252.xml"/><Relationship Id="rId25" Type="http://schemas.openxmlformats.org/officeDocument/2006/relationships/tags" Target="../tags/tag260.xml"/><Relationship Id="rId33" Type="http://schemas.openxmlformats.org/officeDocument/2006/relationships/tags" Target="../tags/tag268.xml"/><Relationship Id="rId38" Type="http://schemas.openxmlformats.org/officeDocument/2006/relationships/slideLayout" Target="../slideLayouts/slideLayout9.xml"/><Relationship Id="rId46" Type="http://schemas.openxmlformats.org/officeDocument/2006/relationships/image" Target="../media/image28.png"/><Relationship Id="rId20" Type="http://schemas.openxmlformats.org/officeDocument/2006/relationships/tags" Target="../tags/tag255.xml"/><Relationship Id="rId41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notesSlide" Target="../notesSlides/notesSlide6.xml"/><Relationship Id="rId21" Type="http://schemas.openxmlformats.org/officeDocument/2006/relationships/tags" Target="../tags/tag293.xml"/><Relationship Id="rId42" Type="http://schemas.openxmlformats.org/officeDocument/2006/relationships/image" Target="../media/image43.jpeg"/><Relationship Id="rId47" Type="http://schemas.openxmlformats.org/officeDocument/2006/relationships/image" Target="../media/image48.jpeg"/><Relationship Id="rId63" Type="http://schemas.openxmlformats.org/officeDocument/2006/relationships/image" Target="../media/image62.png"/><Relationship Id="rId68" Type="http://schemas.openxmlformats.org/officeDocument/2006/relationships/image" Target="../media/image67.jpeg"/><Relationship Id="rId7" Type="http://schemas.openxmlformats.org/officeDocument/2006/relationships/tags" Target="../tags/tag279.xml"/><Relationship Id="rId71" Type="http://schemas.openxmlformats.org/officeDocument/2006/relationships/image" Target="../media/image70.jpeg"/><Relationship Id="rId2" Type="http://schemas.openxmlformats.org/officeDocument/2006/relationships/tags" Target="../tags/tag274.xml"/><Relationship Id="rId16" Type="http://schemas.openxmlformats.org/officeDocument/2006/relationships/tags" Target="../tags/tag288.xml"/><Relationship Id="rId29" Type="http://schemas.openxmlformats.org/officeDocument/2006/relationships/image" Target="../media/image30.png"/><Relationship Id="rId11" Type="http://schemas.openxmlformats.org/officeDocument/2006/relationships/tags" Target="../tags/tag283.xml"/><Relationship Id="rId24" Type="http://schemas.openxmlformats.org/officeDocument/2006/relationships/tags" Target="../tags/tag296.xml"/><Relationship Id="rId32" Type="http://schemas.openxmlformats.org/officeDocument/2006/relationships/image" Target="../media/image33.png"/><Relationship Id="rId37" Type="http://schemas.openxmlformats.org/officeDocument/2006/relationships/image" Target="../media/image38.jpeg"/><Relationship Id="rId40" Type="http://schemas.openxmlformats.org/officeDocument/2006/relationships/image" Target="../media/image41.png"/><Relationship Id="rId45" Type="http://schemas.openxmlformats.org/officeDocument/2006/relationships/image" Target="../media/image46.jpe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66" Type="http://schemas.openxmlformats.org/officeDocument/2006/relationships/image" Target="../media/image65.jpeg"/><Relationship Id="rId5" Type="http://schemas.openxmlformats.org/officeDocument/2006/relationships/tags" Target="../tags/tag277.xml"/><Relationship Id="rId61" Type="http://schemas.openxmlformats.org/officeDocument/2006/relationships/hyperlink" Target="http://www.pizzahut.com/more.asp" TargetMode="External"/><Relationship Id="rId19" Type="http://schemas.openxmlformats.org/officeDocument/2006/relationships/tags" Target="../tags/tag291.xml"/><Relationship Id="rId14" Type="http://schemas.openxmlformats.org/officeDocument/2006/relationships/tags" Target="../tags/tag286.xml"/><Relationship Id="rId22" Type="http://schemas.openxmlformats.org/officeDocument/2006/relationships/tags" Target="../tags/tag294.xml"/><Relationship Id="rId27" Type="http://schemas.openxmlformats.org/officeDocument/2006/relationships/image" Target="../media/image10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jpeg"/><Relationship Id="rId64" Type="http://schemas.openxmlformats.org/officeDocument/2006/relationships/image" Target="../media/image63.jpeg"/><Relationship Id="rId69" Type="http://schemas.openxmlformats.org/officeDocument/2006/relationships/image" Target="../media/image68.jpeg"/><Relationship Id="rId8" Type="http://schemas.openxmlformats.org/officeDocument/2006/relationships/tags" Target="../tags/tag280.xml"/><Relationship Id="rId51" Type="http://schemas.openxmlformats.org/officeDocument/2006/relationships/image" Target="../media/image52.png"/><Relationship Id="rId72" Type="http://schemas.openxmlformats.org/officeDocument/2006/relationships/image" Target="../media/image71.jpeg"/><Relationship Id="rId3" Type="http://schemas.openxmlformats.org/officeDocument/2006/relationships/tags" Target="../tags/tag275.xml"/><Relationship Id="rId12" Type="http://schemas.openxmlformats.org/officeDocument/2006/relationships/tags" Target="../tags/tag284.xml"/><Relationship Id="rId17" Type="http://schemas.openxmlformats.org/officeDocument/2006/relationships/tags" Target="../tags/tag289.xml"/><Relationship Id="rId25" Type="http://schemas.openxmlformats.org/officeDocument/2006/relationships/slideLayout" Target="../slideLayouts/slideLayout9.xml"/><Relationship Id="rId33" Type="http://schemas.openxmlformats.org/officeDocument/2006/relationships/image" Target="../media/image34.jpeg"/><Relationship Id="rId38" Type="http://schemas.openxmlformats.org/officeDocument/2006/relationships/image" Target="../media/image39.jpeg"/><Relationship Id="rId46" Type="http://schemas.openxmlformats.org/officeDocument/2006/relationships/image" Target="../media/image47.jpeg"/><Relationship Id="rId59" Type="http://schemas.openxmlformats.org/officeDocument/2006/relationships/hyperlink" Target="http://www.agrojob.com/logo-entreprise/BRAKE%20FRANCE.gif" TargetMode="External"/><Relationship Id="rId67" Type="http://schemas.openxmlformats.org/officeDocument/2006/relationships/image" Target="../media/image66.png"/><Relationship Id="rId20" Type="http://schemas.openxmlformats.org/officeDocument/2006/relationships/tags" Target="../tags/tag292.xml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62" Type="http://schemas.openxmlformats.org/officeDocument/2006/relationships/image" Target="../media/image61.png"/><Relationship Id="rId70" Type="http://schemas.openxmlformats.org/officeDocument/2006/relationships/image" Target="../media/image69.jpeg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15" Type="http://schemas.openxmlformats.org/officeDocument/2006/relationships/tags" Target="../tags/tag287.xml"/><Relationship Id="rId23" Type="http://schemas.openxmlformats.org/officeDocument/2006/relationships/tags" Target="../tags/tag295.xml"/><Relationship Id="rId28" Type="http://schemas.openxmlformats.org/officeDocument/2006/relationships/image" Target="../media/image11.png"/><Relationship Id="rId36" Type="http://schemas.openxmlformats.org/officeDocument/2006/relationships/image" Target="../media/image37.jpeg"/><Relationship Id="rId49" Type="http://schemas.openxmlformats.org/officeDocument/2006/relationships/image" Target="../media/image50.jpeg"/><Relationship Id="rId57" Type="http://schemas.openxmlformats.org/officeDocument/2006/relationships/image" Target="../media/image58.png"/><Relationship Id="rId10" Type="http://schemas.openxmlformats.org/officeDocument/2006/relationships/tags" Target="../tags/tag282.xml"/><Relationship Id="rId31" Type="http://schemas.openxmlformats.org/officeDocument/2006/relationships/image" Target="../media/image32.png"/><Relationship Id="rId44" Type="http://schemas.openxmlformats.org/officeDocument/2006/relationships/image" Target="../media/image45.jpeg"/><Relationship Id="rId52" Type="http://schemas.openxmlformats.org/officeDocument/2006/relationships/image" Target="../media/image53.jpeg"/><Relationship Id="rId60" Type="http://schemas.openxmlformats.org/officeDocument/2006/relationships/image" Target="../media/image60.jpeg"/><Relationship Id="rId65" Type="http://schemas.openxmlformats.org/officeDocument/2006/relationships/image" Target="../media/image64.png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3" Type="http://schemas.openxmlformats.org/officeDocument/2006/relationships/tags" Target="../tags/tag285.xml"/><Relationship Id="rId18" Type="http://schemas.openxmlformats.org/officeDocument/2006/relationships/tags" Target="../tags/tag290.xml"/><Relationship Id="rId39" Type="http://schemas.openxmlformats.org/officeDocument/2006/relationships/image" Target="../media/image40.png"/><Relationship Id="rId34" Type="http://schemas.openxmlformats.org/officeDocument/2006/relationships/image" Target="../media/image35.jpeg"/><Relationship Id="rId50" Type="http://schemas.openxmlformats.org/officeDocument/2006/relationships/image" Target="../media/image51.jpeg"/><Relationship Id="rId55" Type="http://schemas.openxmlformats.org/officeDocument/2006/relationships/image" Target="../media/image5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png"/><Relationship Id="rId5" Type="http://schemas.openxmlformats.org/officeDocument/2006/relationships/image" Target="../media/image7.jp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413.xml"/><Relationship Id="rId21" Type="http://schemas.openxmlformats.org/officeDocument/2006/relationships/tags" Target="../tags/tag317.xml"/><Relationship Id="rId42" Type="http://schemas.openxmlformats.org/officeDocument/2006/relationships/tags" Target="../tags/tag338.xml"/><Relationship Id="rId63" Type="http://schemas.openxmlformats.org/officeDocument/2006/relationships/tags" Target="../tags/tag359.xml"/><Relationship Id="rId84" Type="http://schemas.openxmlformats.org/officeDocument/2006/relationships/tags" Target="../tags/tag380.xml"/><Relationship Id="rId138" Type="http://schemas.openxmlformats.org/officeDocument/2006/relationships/tags" Target="../tags/tag434.xml"/><Relationship Id="rId159" Type="http://schemas.openxmlformats.org/officeDocument/2006/relationships/tags" Target="../tags/tag455.xml"/><Relationship Id="rId170" Type="http://schemas.openxmlformats.org/officeDocument/2006/relationships/tags" Target="../tags/tag466.xml"/><Relationship Id="rId191" Type="http://schemas.openxmlformats.org/officeDocument/2006/relationships/tags" Target="../tags/tag487.xml"/><Relationship Id="rId205" Type="http://schemas.openxmlformats.org/officeDocument/2006/relationships/tags" Target="../tags/tag501.xml"/><Relationship Id="rId226" Type="http://schemas.openxmlformats.org/officeDocument/2006/relationships/tags" Target="../tags/tag522.xml"/><Relationship Id="rId107" Type="http://schemas.openxmlformats.org/officeDocument/2006/relationships/tags" Target="../tags/tag403.xml"/><Relationship Id="rId11" Type="http://schemas.openxmlformats.org/officeDocument/2006/relationships/tags" Target="../tags/tag307.xml"/><Relationship Id="rId32" Type="http://schemas.openxmlformats.org/officeDocument/2006/relationships/tags" Target="../tags/tag328.xml"/><Relationship Id="rId53" Type="http://schemas.openxmlformats.org/officeDocument/2006/relationships/tags" Target="../tags/tag349.xml"/><Relationship Id="rId74" Type="http://schemas.openxmlformats.org/officeDocument/2006/relationships/tags" Target="../tags/tag370.xml"/><Relationship Id="rId128" Type="http://schemas.openxmlformats.org/officeDocument/2006/relationships/tags" Target="../tags/tag424.xml"/><Relationship Id="rId149" Type="http://schemas.openxmlformats.org/officeDocument/2006/relationships/tags" Target="../tags/tag445.xml"/><Relationship Id="rId5" Type="http://schemas.openxmlformats.org/officeDocument/2006/relationships/tags" Target="../tags/tag301.xml"/><Relationship Id="rId95" Type="http://schemas.openxmlformats.org/officeDocument/2006/relationships/tags" Target="../tags/tag391.xml"/><Relationship Id="rId160" Type="http://schemas.openxmlformats.org/officeDocument/2006/relationships/tags" Target="../tags/tag456.xml"/><Relationship Id="rId181" Type="http://schemas.openxmlformats.org/officeDocument/2006/relationships/tags" Target="../tags/tag477.xml"/><Relationship Id="rId216" Type="http://schemas.openxmlformats.org/officeDocument/2006/relationships/tags" Target="../tags/tag512.xml"/><Relationship Id="rId237" Type="http://schemas.openxmlformats.org/officeDocument/2006/relationships/notesSlide" Target="../notesSlides/notesSlide8.xml"/><Relationship Id="rId22" Type="http://schemas.openxmlformats.org/officeDocument/2006/relationships/tags" Target="../tags/tag318.xml"/><Relationship Id="rId43" Type="http://schemas.openxmlformats.org/officeDocument/2006/relationships/tags" Target="../tags/tag339.xml"/><Relationship Id="rId64" Type="http://schemas.openxmlformats.org/officeDocument/2006/relationships/tags" Target="../tags/tag360.xml"/><Relationship Id="rId118" Type="http://schemas.openxmlformats.org/officeDocument/2006/relationships/tags" Target="../tags/tag414.xml"/><Relationship Id="rId139" Type="http://schemas.openxmlformats.org/officeDocument/2006/relationships/tags" Target="../tags/tag435.xml"/><Relationship Id="rId85" Type="http://schemas.openxmlformats.org/officeDocument/2006/relationships/tags" Target="../tags/tag381.xml"/><Relationship Id="rId150" Type="http://schemas.openxmlformats.org/officeDocument/2006/relationships/tags" Target="../tags/tag446.xml"/><Relationship Id="rId171" Type="http://schemas.openxmlformats.org/officeDocument/2006/relationships/tags" Target="../tags/tag467.xml"/><Relationship Id="rId192" Type="http://schemas.openxmlformats.org/officeDocument/2006/relationships/tags" Target="../tags/tag488.xml"/><Relationship Id="rId206" Type="http://schemas.openxmlformats.org/officeDocument/2006/relationships/tags" Target="../tags/tag502.xml"/><Relationship Id="rId227" Type="http://schemas.openxmlformats.org/officeDocument/2006/relationships/tags" Target="../tags/tag523.xml"/><Relationship Id="rId12" Type="http://schemas.openxmlformats.org/officeDocument/2006/relationships/tags" Target="../tags/tag308.xml"/><Relationship Id="rId33" Type="http://schemas.openxmlformats.org/officeDocument/2006/relationships/tags" Target="../tags/tag329.xml"/><Relationship Id="rId108" Type="http://schemas.openxmlformats.org/officeDocument/2006/relationships/tags" Target="../tags/tag404.xml"/><Relationship Id="rId129" Type="http://schemas.openxmlformats.org/officeDocument/2006/relationships/tags" Target="../tags/tag425.xml"/><Relationship Id="rId54" Type="http://schemas.openxmlformats.org/officeDocument/2006/relationships/tags" Target="../tags/tag350.xml"/><Relationship Id="rId75" Type="http://schemas.openxmlformats.org/officeDocument/2006/relationships/tags" Target="../tags/tag371.xml"/><Relationship Id="rId96" Type="http://schemas.openxmlformats.org/officeDocument/2006/relationships/tags" Target="../tags/tag392.xml"/><Relationship Id="rId140" Type="http://schemas.openxmlformats.org/officeDocument/2006/relationships/tags" Target="../tags/tag436.xml"/><Relationship Id="rId161" Type="http://schemas.openxmlformats.org/officeDocument/2006/relationships/tags" Target="../tags/tag457.xml"/><Relationship Id="rId182" Type="http://schemas.openxmlformats.org/officeDocument/2006/relationships/tags" Target="../tags/tag478.xml"/><Relationship Id="rId217" Type="http://schemas.openxmlformats.org/officeDocument/2006/relationships/tags" Target="../tags/tag513.xml"/><Relationship Id="rId6" Type="http://schemas.openxmlformats.org/officeDocument/2006/relationships/tags" Target="../tags/tag302.xml"/><Relationship Id="rId238" Type="http://schemas.openxmlformats.org/officeDocument/2006/relationships/image" Target="../media/image10.png"/><Relationship Id="rId23" Type="http://schemas.openxmlformats.org/officeDocument/2006/relationships/tags" Target="../tags/tag319.xml"/><Relationship Id="rId119" Type="http://schemas.openxmlformats.org/officeDocument/2006/relationships/tags" Target="../tags/tag415.xml"/><Relationship Id="rId44" Type="http://schemas.openxmlformats.org/officeDocument/2006/relationships/tags" Target="../tags/tag340.xml"/><Relationship Id="rId65" Type="http://schemas.openxmlformats.org/officeDocument/2006/relationships/tags" Target="../tags/tag361.xml"/><Relationship Id="rId86" Type="http://schemas.openxmlformats.org/officeDocument/2006/relationships/tags" Target="../tags/tag382.xml"/><Relationship Id="rId130" Type="http://schemas.openxmlformats.org/officeDocument/2006/relationships/tags" Target="../tags/tag426.xml"/><Relationship Id="rId151" Type="http://schemas.openxmlformats.org/officeDocument/2006/relationships/tags" Target="../tags/tag447.xml"/><Relationship Id="rId172" Type="http://schemas.openxmlformats.org/officeDocument/2006/relationships/tags" Target="../tags/tag468.xml"/><Relationship Id="rId193" Type="http://schemas.openxmlformats.org/officeDocument/2006/relationships/tags" Target="../tags/tag489.xml"/><Relationship Id="rId207" Type="http://schemas.openxmlformats.org/officeDocument/2006/relationships/tags" Target="../tags/tag503.xml"/><Relationship Id="rId228" Type="http://schemas.openxmlformats.org/officeDocument/2006/relationships/tags" Target="../tags/tag524.xml"/><Relationship Id="rId13" Type="http://schemas.openxmlformats.org/officeDocument/2006/relationships/tags" Target="../tags/tag309.xml"/><Relationship Id="rId109" Type="http://schemas.openxmlformats.org/officeDocument/2006/relationships/tags" Target="../tags/tag405.xml"/><Relationship Id="rId34" Type="http://schemas.openxmlformats.org/officeDocument/2006/relationships/tags" Target="../tags/tag330.xml"/><Relationship Id="rId55" Type="http://schemas.openxmlformats.org/officeDocument/2006/relationships/tags" Target="../tags/tag351.xml"/><Relationship Id="rId76" Type="http://schemas.openxmlformats.org/officeDocument/2006/relationships/tags" Target="../tags/tag372.xml"/><Relationship Id="rId97" Type="http://schemas.openxmlformats.org/officeDocument/2006/relationships/tags" Target="../tags/tag393.xml"/><Relationship Id="rId120" Type="http://schemas.openxmlformats.org/officeDocument/2006/relationships/tags" Target="../tags/tag416.xml"/><Relationship Id="rId141" Type="http://schemas.openxmlformats.org/officeDocument/2006/relationships/tags" Target="../tags/tag437.xml"/><Relationship Id="rId7" Type="http://schemas.openxmlformats.org/officeDocument/2006/relationships/tags" Target="../tags/tag303.xml"/><Relationship Id="rId162" Type="http://schemas.openxmlformats.org/officeDocument/2006/relationships/tags" Target="../tags/tag458.xml"/><Relationship Id="rId183" Type="http://schemas.openxmlformats.org/officeDocument/2006/relationships/tags" Target="../tags/tag479.xml"/><Relationship Id="rId218" Type="http://schemas.openxmlformats.org/officeDocument/2006/relationships/tags" Target="../tags/tag514.xml"/><Relationship Id="rId239" Type="http://schemas.openxmlformats.org/officeDocument/2006/relationships/image" Target="../media/image11.png"/><Relationship Id="rId24" Type="http://schemas.openxmlformats.org/officeDocument/2006/relationships/tags" Target="../tags/tag320.xml"/><Relationship Id="rId45" Type="http://schemas.openxmlformats.org/officeDocument/2006/relationships/tags" Target="../tags/tag341.xml"/><Relationship Id="rId66" Type="http://schemas.openxmlformats.org/officeDocument/2006/relationships/tags" Target="../tags/tag362.xml"/><Relationship Id="rId87" Type="http://schemas.openxmlformats.org/officeDocument/2006/relationships/tags" Target="../tags/tag383.xml"/><Relationship Id="rId110" Type="http://schemas.openxmlformats.org/officeDocument/2006/relationships/tags" Target="../tags/tag406.xml"/><Relationship Id="rId131" Type="http://schemas.openxmlformats.org/officeDocument/2006/relationships/tags" Target="../tags/tag427.xml"/><Relationship Id="rId152" Type="http://schemas.openxmlformats.org/officeDocument/2006/relationships/tags" Target="../tags/tag448.xml"/><Relationship Id="rId173" Type="http://schemas.openxmlformats.org/officeDocument/2006/relationships/tags" Target="../tags/tag469.xml"/><Relationship Id="rId194" Type="http://schemas.openxmlformats.org/officeDocument/2006/relationships/tags" Target="../tags/tag490.xml"/><Relationship Id="rId208" Type="http://schemas.openxmlformats.org/officeDocument/2006/relationships/tags" Target="../tags/tag504.xml"/><Relationship Id="rId229" Type="http://schemas.openxmlformats.org/officeDocument/2006/relationships/tags" Target="../tags/tag525.xml"/><Relationship Id="rId240" Type="http://schemas.openxmlformats.org/officeDocument/2006/relationships/image" Target="../media/image20.emf"/><Relationship Id="rId14" Type="http://schemas.openxmlformats.org/officeDocument/2006/relationships/tags" Target="../tags/tag310.xml"/><Relationship Id="rId35" Type="http://schemas.openxmlformats.org/officeDocument/2006/relationships/tags" Target="../tags/tag331.xml"/><Relationship Id="rId56" Type="http://schemas.openxmlformats.org/officeDocument/2006/relationships/tags" Target="../tags/tag352.xml"/><Relationship Id="rId77" Type="http://schemas.openxmlformats.org/officeDocument/2006/relationships/tags" Target="../tags/tag373.xml"/><Relationship Id="rId100" Type="http://schemas.openxmlformats.org/officeDocument/2006/relationships/tags" Target="../tags/tag396.xml"/><Relationship Id="rId8" Type="http://schemas.openxmlformats.org/officeDocument/2006/relationships/tags" Target="../tags/tag304.xml"/><Relationship Id="rId98" Type="http://schemas.openxmlformats.org/officeDocument/2006/relationships/tags" Target="../tags/tag394.xml"/><Relationship Id="rId121" Type="http://schemas.openxmlformats.org/officeDocument/2006/relationships/tags" Target="../tags/tag417.xml"/><Relationship Id="rId142" Type="http://schemas.openxmlformats.org/officeDocument/2006/relationships/tags" Target="../tags/tag438.xml"/><Relationship Id="rId163" Type="http://schemas.openxmlformats.org/officeDocument/2006/relationships/tags" Target="../tags/tag459.xml"/><Relationship Id="rId184" Type="http://schemas.openxmlformats.org/officeDocument/2006/relationships/tags" Target="../tags/tag480.xml"/><Relationship Id="rId219" Type="http://schemas.openxmlformats.org/officeDocument/2006/relationships/tags" Target="../tags/tag515.xml"/><Relationship Id="rId230" Type="http://schemas.openxmlformats.org/officeDocument/2006/relationships/tags" Target="../tags/tag526.xml"/><Relationship Id="rId25" Type="http://schemas.openxmlformats.org/officeDocument/2006/relationships/tags" Target="../tags/tag321.xml"/><Relationship Id="rId46" Type="http://schemas.openxmlformats.org/officeDocument/2006/relationships/tags" Target="../tags/tag342.xml"/><Relationship Id="rId67" Type="http://schemas.openxmlformats.org/officeDocument/2006/relationships/tags" Target="../tags/tag363.xml"/><Relationship Id="rId88" Type="http://schemas.openxmlformats.org/officeDocument/2006/relationships/tags" Target="../tags/tag384.xml"/><Relationship Id="rId111" Type="http://schemas.openxmlformats.org/officeDocument/2006/relationships/tags" Target="../tags/tag407.xml"/><Relationship Id="rId132" Type="http://schemas.openxmlformats.org/officeDocument/2006/relationships/tags" Target="../tags/tag428.xml"/><Relationship Id="rId153" Type="http://schemas.openxmlformats.org/officeDocument/2006/relationships/tags" Target="../tags/tag449.xml"/><Relationship Id="rId174" Type="http://schemas.openxmlformats.org/officeDocument/2006/relationships/tags" Target="../tags/tag470.xml"/><Relationship Id="rId195" Type="http://schemas.openxmlformats.org/officeDocument/2006/relationships/tags" Target="../tags/tag491.xml"/><Relationship Id="rId209" Type="http://schemas.openxmlformats.org/officeDocument/2006/relationships/tags" Target="../tags/tag505.xml"/><Relationship Id="rId220" Type="http://schemas.openxmlformats.org/officeDocument/2006/relationships/tags" Target="../tags/tag516.xml"/><Relationship Id="rId241" Type="http://schemas.openxmlformats.org/officeDocument/2006/relationships/image" Target="../media/image30.png"/><Relationship Id="rId15" Type="http://schemas.openxmlformats.org/officeDocument/2006/relationships/tags" Target="../tags/tag311.xml"/><Relationship Id="rId36" Type="http://schemas.openxmlformats.org/officeDocument/2006/relationships/tags" Target="../tags/tag332.xml"/><Relationship Id="rId57" Type="http://schemas.openxmlformats.org/officeDocument/2006/relationships/tags" Target="../tags/tag353.xml"/><Relationship Id="rId106" Type="http://schemas.openxmlformats.org/officeDocument/2006/relationships/tags" Target="../tags/tag402.xml"/><Relationship Id="rId127" Type="http://schemas.openxmlformats.org/officeDocument/2006/relationships/tags" Target="../tags/tag423.xml"/><Relationship Id="rId10" Type="http://schemas.openxmlformats.org/officeDocument/2006/relationships/tags" Target="../tags/tag306.xml"/><Relationship Id="rId31" Type="http://schemas.openxmlformats.org/officeDocument/2006/relationships/tags" Target="../tags/tag327.xml"/><Relationship Id="rId52" Type="http://schemas.openxmlformats.org/officeDocument/2006/relationships/tags" Target="../tags/tag348.xml"/><Relationship Id="rId73" Type="http://schemas.openxmlformats.org/officeDocument/2006/relationships/tags" Target="../tags/tag369.xml"/><Relationship Id="rId78" Type="http://schemas.openxmlformats.org/officeDocument/2006/relationships/tags" Target="../tags/tag374.xml"/><Relationship Id="rId94" Type="http://schemas.openxmlformats.org/officeDocument/2006/relationships/tags" Target="../tags/tag390.xml"/><Relationship Id="rId99" Type="http://schemas.openxmlformats.org/officeDocument/2006/relationships/tags" Target="../tags/tag395.xml"/><Relationship Id="rId101" Type="http://schemas.openxmlformats.org/officeDocument/2006/relationships/tags" Target="../tags/tag397.xml"/><Relationship Id="rId122" Type="http://schemas.openxmlformats.org/officeDocument/2006/relationships/tags" Target="../tags/tag418.xml"/><Relationship Id="rId143" Type="http://schemas.openxmlformats.org/officeDocument/2006/relationships/tags" Target="../tags/tag439.xml"/><Relationship Id="rId148" Type="http://schemas.openxmlformats.org/officeDocument/2006/relationships/tags" Target="../tags/tag444.xml"/><Relationship Id="rId164" Type="http://schemas.openxmlformats.org/officeDocument/2006/relationships/tags" Target="../tags/tag460.xml"/><Relationship Id="rId169" Type="http://schemas.openxmlformats.org/officeDocument/2006/relationships/tags" Target="../tags/tag465.xml"/><Relationship Id="rId185" Type="http://schemas.openxmlformats.org/officeDocument/2006/relationships/tags" Target="../tags/tag481.xml"/><Relationship Id="rId4" Type="http://schemas.openxmlformats.org/officeDocument/2006/relationships/tags" Target="../tags/tag300.xml"/><Relationship Id="rId9" Type="http://schemas.openxmlformats.org/officeDocument/2006/relationships/tags" Target="../tags/tag305.xml"/><Relationship Id="rId180" Type="http://schemas.openxmlformats.org/officeDocument/2006/relationships/tags" Target="../tags/tag476.xml"/><Relationship Id="rId210" Type="http://schemas.openxmlformats.org/officeDocument/2006/relationships/tags" Target="../tags/tag506.xml"/><Relationship Id="rId215" Type="http://schemas.openxmlformats.org/officeDocument/2006/relationships/tags" Target="../tags/tag511.xml"/><Relationship Id="rId236" Type="http://schemas.openxmlformats.org/officeDocument/2006/relationships/slideLayout" Target="../slideLayouts/slideLayout9.xml"/><Relationship Id="rId26" Type="http://schemas.openxmlformats.org/officeDocument/2006/relationships/tags" Target="../tags/tag322.xml"/><Relationship Id="rId231" Type="http://schemas.openxmlformats.org/officeDocument/2006/relationships/tags" Target="../tags/tag527.xml"/><Relationship Id="rId47" Type="http://schemas.openxmlformats.org/officeDocument/2006/relationships/tags" Target="../tags/tag343.xml"/><Relationship Id="rId68" Type="http://schemas.openxmlformats.org/officeDocument/2006/relationships/tags" Target="../tags/tag364.xml"/><Relationship Id="rId89" Type="http://schemas.openxmlformats.org/officeDocument/2006/relationships/tags" Target="../tags/tag385.xml"/><Relationship Id="rId112" Type="http://schemas.openxmlformats.org/officeDocument/2006/relationships/tags" Target="../tags/tag408.xml"/><Relationship Id="rId133" Type="http://schemas.openxmlformats.org/officeDocument/2006/relationships/tags" Target="../tags/tag429.xml"/><Relationship Id="rId154" Type="http://schemas.openxmlformats.org/officeDocument/2006/relationships/tags" Target="../tags/tag450.xml"/><Relationship Id="rId175" Type="http://schemas.openxmlformats.org/officeDocument/2006/relationships/tags" Target="../tags/tag471.xml"/><Relationship Id="rId196" Type="http://schemas.openxmlformats.org/officeDocument/2006/relationships/tags" Target="../tags/tag492.xml"/><Relationship Id="rId200" Type="http://schemas.openxmlformats.org/officeDocument/2006/relationships/tags" Target="../tags/tag496.xml"/><Relationship Id="rId16" Type="http://schemas.openxmlformats.org/officeDocument/2006/relationships/tags" Target="../tags/tag312.xml"/><Relationship Id="rId221" Type="http://schemas.openxmlformats.org/officeDocument/2006/relationships/tags" Target="../tags/tag517.xml"/><Relationship Id="rId242" Type="http://schemas.openxmlformats.org/officeDocument/2006/relationships/image" Target="../media/image31.png"/><Relationship Id="rId37" Type="http://schemas.openxmlformats.org/officeDocument/2006/relationships/tags" Target="../tags/tag333.xml"/><Relationship Id="rId58" Type="http://schemas.openxmlformats.org/officeDocument/2006/relationships/tags" Target="../tags/tag354.xml"/><Relationship Id="rId79" Type="http://schemas.openxmlformats.org/officeDocument/2006/relationships/tags" Target="../tags/tag375.xml"/><Relationship Id="rId102" Type="http://schemas.openxmlformats.org/officeDocument/2006/relationships/tags" Target="../tags/tag398.xml"/><Relationship Id="rId123" Type="http://schemas.openxmlformats.org/officeDocument/2006/relationships/tags" Target="../tags/tag419.xml"/><Relationship Id="rId144" Type="http://schemas.openxmlformats.org/officeDocument/2006/relationships/tags" Target="../tags/tag440.xml"/><Relationship Id="rId90" Type="http://schemas.openxmlformats.org/officeDocument/2006/relationships/tags" Target="../tags/tag386.xml"/><Relationship Id="rId165" Type="http://schemas.openxmlformats.org/officeDocument/2006/relationships/tags" Target="../tags/tag461.xml"/><Relationship Id="rId186" Type="http://schemas.openxmlformats.org/officeDocument/2006/relationships/tags" Target="../tags/tag482.xml"/><Relationship Id="rId211" Type="http://schemas.openxmlformats.org/officeDocument/2006/relationships/tags" Target="../tags/tag507.xml"/><Relationship Id="rId232" Type="http://schemas.openxmlformats.org/officeDocument/2006/relationships/tags" Target="../tags/tag528.xml"/><Relationship Id="rId27" Type="http://schemas.openxmlformats.org/officeDocument/2006/relationships/tags" Target="../tags/tag323.xml"/><Relationship Id="rId48" Type="http://schemas.openxmlformats.org/officeDocument/2006/relationships/tags" Target="../tags/tag344.xml"/><Relationship Id="rId69" Type="http://schemas.openxmlformats.org/officeDocument/2006/relationships/tags" Target="../tags/tag365.xml"/><Relationship Id="rId113" Type="http://schemas.openxmlformats.org/officeDocument/2006/relationships/tags" Target="../tags/tag409.xml"/><Relationship Id="rId134" Type="http://schemas.openxmlformats.org/officeDocument/2006/relationships/tags" Target="../tags/tag430.xml"/><Relationship Id="rId80" Type="http://schemas.openxmlformats.org/officeDocument/2006/relationships/tags" Target="../tags/tag376.xml"/><Relationship Id="rId155" Type="http://schemas.openxmlformats.org/officeDocument/2006/relationships/tags" Target="../tags/tag451.xml"/><Relationship Id="rId176" Type="http://schemas.openxmlformats.org/officeDocument/2006/relationships/tags" Target="../tags/tag472.xml"/><Relationship Id="rId197" Type="http://schemas.openxmlformats.org/officeDocument/2006/relationships/tags" Target="../tags/tag493.xml"/><Relationship Id="rId201" Type="http://schemas.openxmlformats.org/officeDocument/2006/relationships/tags" Target="../tags/tag497.xml"/><Relationship Id="rId222" Type="http://schemas.openxmlformats.org/officeDocument/2006/relationships/tags" Target="../tags/tag518.xml"/><Relationship Id="rId243" Type="http://schemas.openxmlformats.org/officeDocument/2006/relationships/image" Target="../media/image32.png"/><Relationship Id="rId17" Type="http://schemas.openxmlformats.org/officeDocument/2006/relationships/tags" Target="../tags/tag313.xml"/><Relationship Id="rId38" Type="http://schemas.openxmlformats.org/officeDocument/2006/relationships/tags" Target="../tags/tag334.xml"/><Relationship Id="rId59" Type="http://schemas.openxmlformats.org/officeDocument/2006/relationships/tags" Target="../tags/tag355.xml"/><Relationship Id="rId103" Type="http://schemas.openxmlformats.org/officeDocument/2006/relationships/tags" Target="../tags/tag399.xml"/><Relationship Id="rId124" Type="http://schemas.openxmlformats.org/officeDocument/2006/relationships/tags" Target="../tags/tag420.xml"/><Relationship Id="rId70" Type="http://schemas.openxmlformats.org/officeDocument/2006/relationships/tags" Target="../tags/tag366.xml"/><Relationship Id="rId91" Type="http://schemas.openxmlformats.org/officeDocument/2006/relationships/tags" Target="../tags/tag387.xml"/><Relationship Id="rId145" Type="http://schemas.openxmlformats.org/officeDocument/2006/relationships/tags" Target="../tags/tag441.xml"/><Relationship Id="rId166" Type="http://schemas.openxmlformats.org/officeDocument/2006/relationships/tags" Target="../tags/tag462.xml"/><Relationship Id="rId187" Type="http://schemas.openxmlformats.org/officeDocument/2006/relationships/tags" Target="../tags/tag483.xml"/><Relationship Id="rId1" Type="http://schemas.openxmlformats.org/officeDocument/2006/relationships/tags" Target="../tags/tag297.xml"/><Relationship Id="rId212" Type="http://schemas.openxmlformats.org/officeDocument/2006/relationships/tags" Target="../tags/tag508.xml"/><Relationship Id="rId233" Type="http://schemas.openxmlformats.org/officeDocument/2006/relationships/tags" Target="../tags/tag529.xml"/><Relationship Id="rId28" Type="http://schemas.openxmlformats.org/officeDocument/2006/relationships/tags" Target="../tags/tag324.xml"/><Relationship Id="rId49" Type="http://schemas.openxmlformats.org/officeDocument/2006/relationships/tags" Target="../tags/tag345.xml"/><Relationship Id="rId114" Type="http://schemas.openxmlformats.org/officeDocument/2006/relationships/tags" Target="../tags/tag410.xml"/><Relationship Id="rId60" Type="http://schemas.openxmlformats.org/officeDocument/2006/relationships/tags" Target="../tags/tag356.xml"/><Relationship Id="rId81" Type="http://schemas.openxmlformats.org/officeDocument/2006/relationships/tags" Target="../tags/tag377.xml"/><Relationship Id="rId135" Type="http://schemas.openxmlformats.org/officeDocument/2006/relationships/tags" Target="../tags/tag431.xml"/><Relationship Id="rId156" Type="http://schemas.openxmlformats.org/officeDocument/2006/relationships/tags" Target="../tags/tag452.xml"/><Relationship Id="rId177" Type="http://schemas.openxmlformats.org/officeDocument/2006/relationships/tags" Target="../tags/tag473.xml"/><Relationship Id="rId198" Type="http://schemas.openxmlformats.org/officeDocument/2006/relationships/tags" Target="../tags/tag494.xml"/><Relationship Id="rId202" Type="http://schemas.openxmlformats.org/officeDocument/2006/relationships/tags" Target="../tags/tag498.xml"/><Relationship Id="rId223" Type="http://schemas.openxmlformats.org/officeDocument/2006/relationships/tags" Target="../tags/tag519.xml"/><Relationship Id="rId18" Type="http://schemas.openxmlformats.org/officeDocument/2006/relationships/tags" Target="../tags/tag314.xml"/><Relationship Id="rId39" Type="http://schemas.openxmlformats.org/officeDocument/2006/relationships/tags" Target="../tags/tag335.xml"/><Relationship Id="rId50" Type="http://schemas.openxmlformats.org/officeDocument/2006/relationships/tags" Target="../tags/tag346.xml"/><Relationship Id="rId104" Type="http://schemas.openxmlformats.org/officeDocument/2006/relationships/tags" Target="../tags/tag400.xml"/><Relationship Id="rId125" Type="http://schemas.openxmlformats.org/officeDocument/2006/relationships/tags" Target="../tags/tag421.xml"/><Relationship Id="rId146" Type="http://schemas.openxmlformats.org/officeDocument/2006/relationships/tags" Target="../tags/tag442.xml"/><Relationship Id="rId167" Type="http://schemas.openxmlformats.org/officeDocument/2006/relationships/tags" Target="../tags/tag463.xml"/><Relationship Id="rId188" Type="http://schemas.openxmlformats.org/officeDocument/2006/relationships/tags" Target="../tags/tag484.xml"/><Relationship Id="rId71" Type="http://schemas.openxmlformats.org/officeDocument/2006/relationships/tags" Target="../tags/tag367.xml"/><Relationship Id="rId92" Type="http://schemas.openxmlformats.org/officeDocument/2006/relationships/tags" Target="../tags/tag388.xml"/><Relationship Id="rId213" Type="http://schemas.openxmlformats.org/officeDocument/2006/relationships/tags" Target="../tags/tag509.xml"/><Relationship Id="rId234" Type="http://schemas.openxmlformats.org/officeDocument/2006/relationships/tags" Target="../tags/tag530.xml"/><Relationship Id="rId2" Type="http://schemas.openxmlformats.org/officeDocument/2006/relationships/tags" Target="../tags/tag298.xml"/><Relationship Id="rId29" Type="http://schemas.openxmlformats.org/officeDocument/2006/relationships/tags" Target="../tags/tag325.xml"/><Relationship Id="rId40" Type="http://schemas.openxmlformats.org/officeDocument/2006/relationships/tags" Target="../tags/tag336.xml"/><Relationship Id="rId115" Type="http://schemas.openxmlformats.org/officeDocument/2006/relationships/tags" Target="../tags/tag411.xml"/><Relationship Id="rId136" Type="http://schemas.openxmlformats.org/officeDocument/2006/relationships/tags" Target="../tags/tag432.xml"/><Relationship Id="rId157" Type="http://schemas.openxmlformats.org/officeDocument/2006/relationships/tags" Target="../tags/tag453.xml"/><Relationship Id="rId178" Type="http://schemas.openxmlformats.org/officeDocument/2006/relationships/tags" Target="../tags/tag474.xml"/><Relationship Id="rId61" Type="http://schemas.openxmlformats.org/officeDocument/2006/relationships/tags" Target="../tags/tag357.xml"/><Relationship Id="rId82" Type="http://schemas.openxmlformats.org/officeDocument/2006/relationships/tags" Target="../tags/tag378.xml"/><Relationship Id="rId199" Type="http://schemas.openxmlformats.org/officeDocument/2006/relationships/tags" Target="../tags/tag495.xml"/><Relationship Id="rId203" Type="http://schemas.openxmlformats.org/officeDocument/2006/relationships/tags" Target="../tags/tag499.xml"/><Relationship Id="rId19" Type="http://schemas.openxmlformats.org/officeDocument/2006/relationships/tags" Target="../tags/tag315.xml"/><Relationship Id="rId224" Type="http://schemas.openxmlformats.org/officeDocument/2006/relationships/tags" Target="../tags/tag520.xml"/><Relationship Id="rId30" Type="http://schemas.openxmlformats.org/officeDocument/2006/relationships/tags" Target="../tags/tag326.xml"/><Relationship Id="rId105" Type="http://schemas.openxmlformats.org/officeDocument/2006/relationships/tags" Target="../tags/tag401.xml"/><Relationship Id="rId126" Type="http://schemas.openxmlformats.org/officeDocument/2006/relationships/tags" Target="../tags/tag422.xml"/><Relationship Id="rId147" Type="http://schemas.openxmlformats.org/officeDocument/2006/relationships/tags" Target="../tags/tag443.xml"/><Relationship Id="rId168" Type="http://schemas.openxmlformats.org/officeDocument/2006/relationships/tags" Target="../tags/tag464.xml"/><Relationship Id="rId51" Type="http://schemas.openxmlformats.org/officeDocument/2006/relationships/tags" Target="../tags/tag347.xml"/><Relationship Id="rId72" Type="http://schemas.openxmlformats.org/officeDocument/2006/relationships/tags" Target="../tags/tag368.xml"/><Relationship Id="rId93" Type="http://schemas.openxmlformats.org/officeDocument/2006/relationships/tags" Target="../tags/tag389.xml"/><Relationship Id="rId189" Type="http://schemas.openxmlformats.org/officeDocument/2006/relationships/tags" Target="../tags/tag485.xml"/><Relationship Id="rId3" Type="http://schemas.openxmlformats.org/officeDocument/2006/relationships/tags" Target="../tags/tag299.xml"/><Relationship Id="rId214" Type="http://schemas.openxmlformats.org/officeDocument/2006/relationships/tags" Target="../tags/tag510.xml"/><Relationship Id="rId235" Type="http://schemas.openxmlformats.org/officeDocument/2006/relationships/tags" Target="../tags/tag531.xml"/><Relationship Id="rId116" Type="http://schemas.openxmlformats.org/officeDocument/2006/relationships/tags" Target="../tags/tag412.xml"/><Relationship Id="rId137" Type="http://schemas.openxmlformats.org/officeDocument/2006/relationships/tags" Target="../tags/tag433.xml"/><Relationship Id="rId158" Type="http://schemas.openxmlformats.org/officeDocument/2006/relationships/tags" Target="../tags/tag454.xml"/><Relationship Id="rId20" Type="http://schemas.openxmlformats.org/officeDocument/2006/relationships/tags" Target="../tags/tag316.xml"/><Relationship Id="rId41" Type="http://schemas.openxmlformats.org/officeDocument/2006/relationships/tags" Target="../tags/tag337.xml"/><Relationship Id="rId62" Type="http://schemas.openxmlformats.org/officeDocument/2006/relationships/tags" Target="../tags/tag358.xml"/><Relationship Id="rId83" Type="http://schemas.openxmlformats.org/officeDocument/2006/relationships/tags" Target="../tags/tag379.xml"/><Relationship Id="rId179" Type="http://schemas.openxmlformats.org/officeDocument/2006/relationships/tags" Target="../tags/tag475.xml"/><Relationship Id="rId190" Type="http://schemas.openxmlformats.org/officeDocument/2006/relationships/tags" Target="../tags/tag486.xml"/><Relationship Id="rId204" Type="http://schemas.openxmlformats.org/officeDocument/2006/relationships/tags" Target="../tags/tag500.xml"/><Relationship Id="rId225" Type="http://schemas.openxmlformats.org/officeDocument/2006/relationships/tags" Target="../tags/tag5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5"/>
          <p:cNvSpPr>
            <a:spLocks noGrp="1"/>
          </p:cNvSpPr>
          <p:nvPr>
            <p:ph type="ctrTitle"/>
          </p:nvPr>
        </p:nvSpPr>
        <p:spPr>
          <a:xfrm>
            <a:off x="639846" y="6022026"/>
            <a:ext cx="7754937" cy="371475"/>
          </a:xfrm>
        </p:spPr>
        <p:txBody>
          <a:bodyPr/>
          <a:lstStyle/>
          <a:p>
            <a:pPr eaLnBrk="1" hangingPunct="1"/>
            <a:r>
              <a:rPr lang="fr-FR" dirty="0" smtClean="0">
                <a:latin typeface="Arial Narrow" pitchFamily="34" charset="0"/>
                <a:ea typeface="ＭＳ Ｐゴシック" pitchFamily="-106" charset="-128"/>
              </a:rPr>
              <a:t>STEF IT / INSA : Projet de conception</a:t>
            </a:r>
            <a:br>
              <a:rPr lang="fr-FR" dirty="0" smtClean="0">
                <a:latin typeface="Arial Narrow" pitchFamily="34" charset="0"/>
                <a:ea typeface="ＭＳ Ｐゴシック" pitchFamily="-106" charset="-128"/>
              </a:rPr>
            </a:br>
            <a:r>
              <a:rPr lang="fr-FR" dirty="0" smtClean="0">
                <a:latin typeface="Arial Narrow" pitchFamily="34" charset="0"/>
                <a:ea typeface="ＭＳ Ｐゴシック" pitchFamily="-106" charset="-128"/>
              </a:rPr>
              <a:t>Stratégie de mutation d’un SI – S0 </a:t>
            </a:r>
          </a:p>
        </p:txBody>
      </p:sp>
      <p:sp>
        <p:nvSpPr>
          <p:cNvPr id="13314" name="Rectangle 16"/>
          <p:cNvSpPr>
            <a:spLocks noGrp="1"/>
          </p:cNvSpPr>
          <p:nvPr>
            <p:ph type="subTitle" idx="1"/>
          </p:nvPr>
        </p:nvSpPr>
        <p:spPr>
          <a:xfrm>
            <a:off x="1447367" y="6578869"/>
            <a:ext cx="7754937" cy="338137"/>
          </a:xfrm>
        </p:spPr>
        <p:txBody>
          <a:bodyPr/>
          <a:lstStyle/>
          <a:p>
            <a:pPr algn="r" eaLnBrk="1" hangingPunct="1"/>
            <a:r>
              <a:rPr lang="fr-FR" dirty="0" smtClean="0">
                <a:latin typeface="Arial Narrow" pitchFamily="34" charset="0"/>
                <a:ea typeface="ＭＳ Ｐゴシック" pitchFamily="-106" charset="-128"/>
              </a:rPr>
              <a:t>Décembre </a:t>
            </a:r>
            <a:r>
              <a:rPr dirty="0" smtClean="0">
                <a:latin typeface="Arial Narrow" pitchFamily="34" charset="0"/>
                <a:ea typeface="ＭＳ Ｐゴシック" pitchFamily="-106" charset="-128"/>
              </a:rPr>
              <a:t>2013 </a:t>
            </a:r>
            <a:r>
              <a:rPr lang="fr-FR" dirty="0" smtClean="0">
                <a:latin typeface="Arial Narrow" pitchFamily="34" charset="0"/>
                <a:ea typeface="ＭＳ Ｐゴシック" pitchFamily="-106" charset="-128"/>
              </a:rPr>
              <a:t>–</a:t>
            </a:r>
            <a:r>
              <a:rPr dirty="0" smtClean="0">
                <a:latin typeface="Arial Narrow" pitchFamily="34" charset="0"/>
                <a:ea typeface="ＭＳ Ｐゴシック" pitchFamily="-106" charset="-128"/>
              </a:rPr>
              <a:t> DL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655562" y="1595439"/>
            <a:ext cx="8520113" cy="4760910"/>
            <a:chOff x="304800" y="1303338"/>
            <a:chExt cx="8520113" cy="4760910"/>
          </a:xfrm>
        </p:grpSpPr>
        <p:sp>
          <p:nvSpPr>
            <p:cNvPr id="302" name="Chevron 301"/>
            <p:cNvSpPr/>
            <p:nvPr/>
          </p:nvSpPr>
          <p:spPr>
            <a:xfrm rot="5400000">
              <a:off x="4229571" y="1402061"/>
              <a:ext cx="751530" cy="6974876"/>
            </a:xfrm>
            <a:prstGeom prst="chevron">
              <a:avLst>
                <a:gd name="adj" fmla="val 54274"/>
              </a:avLst>
            </a:prstGeom>
            <a:gradFill flip="none" rotWithShape="1">
              <a:gsLst>
                <a:gs pos="0">
                  <a:srgbClr val="00529E">
                    <a:shade val="30000"/>
                    <a:satMod val="115000"/>
                  </a:srgbClr>
                </a:gs>
                <a:gs pos="50000">
                  <a:srgbClr val="00529E">
                    <a:shade val="67500"/>
                    <a:satMod val="115000"/>
                  </a:srgbClr>
                </a:gs>
                <a:gs pos="100000">
                  <a:srgbClr val="00529E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solidFill>
                <a:srgbClr val="47BBEF">
                  <a:shade val="95000"/>
                  <a:satMod val="105000"/>
                </a:srgbClr>
              </a:solidFill>
              <a:prstDash val="solid"/>
            </a:ln>
            <a:effectLst>
              <a:reflection blurRad="6350" stA="52000" endA="300" endPos="35000" dir="5400000" sy="-100000" algn="bl" rotWithShape="0"/>
            </a:effec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52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3" name="Arrondir un rectangle avec un coin du même côté 302"/>
            <p:cNvSpPr/>
            <p:nvPr/>
          </p:nvSpPr>
          <p:spPr bwMode="auto">
            <a:xfrm>
              <a:off x="655562" y="5578473"/>
              <a:ext cx="2247013" cy="485775"/>
            </a:xfrm>
            <a:prstGeom prst="round2SameRect">
              <a:avLst/>
            </a:prstGeom>
            <a:solidFill>
              <a:srgbClr val="47BBE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/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marL="742950" indent="-28575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marL="11430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marL="16002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marL="20574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000" b="1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IAA</a:t>
              </a:r>
            </a:p>
          </p:txBody>
        </p:sp>
        <p:sp>
          <p:nvSpPr>
            <p:cNvPr id="304" name="Arrondir un rectangle avec un coin du même côté 4"/>
            <p:cNvSpPr/>
            <p:nvPr/>
          </p:nvSpPr>
          <p:spPr bwMode="auto">
            <a:xfrm>
              <a:off x="3452737" y="5578473"/>
              <a:ext cx="2247013" cy="485775"/>
            </a:xfrm>
            <a:prstGeom prst="round2SameRect">
              <a:avLst/>
            </a:prstGeom>
            <a:solidFill>
              <a:srgbClr val="47BBE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/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marL="742950" indent="-28575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marL="11430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marL="16002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marL="20574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000" b="1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GMS</a:t>
              </a:r>
            </a:p>
          </p:txBody>
        </p:sp>
        <p:sp>
          <p:nvSpPr>
            <p:cNvPr id="305" name="Arrondir un rectangle avec un coin du même côté 4"/>
            <p:cNvSpPr/>
            <p:nvPr/>
          </p:nvSpPr>
          <p:spPr bwMode="auto">
            <a:xfrm>
              <a:off x="6189587" y="5578473"/>
              <a:ext cx="2247013" cy="485775"/>
            </a:xfrm>
            <a:prstGeom prst="round2SameRect">
              <a:avLst/>
            </a:prstGeom>
            <a:solidFill>
              <a:srgbClr val="47BBE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/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marL="742950" indent="-28575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marL="11430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marL="16002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marL="2057400" indent="-228600"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marL="25146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marL="29718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marL="34290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marL="3886200" indent="-228600"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000" b="1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RHD et grossistes</a:t>
              </a:r>
            </a:p>
          </p:txBody>
        </p:sp>
        <p:pic>
          <p:nvPicPr>
            <p:cNvPr id="306" name="Picture 13" descr="Copie de logo stef-tfe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8038" y="1487488"/>
              <a:ext cx="4987925" cy="2841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7" name="Rectangle 14"/>
            <p:cNvSpPr>
              <a:spLocks noChangeArrowheads="1"/>
            </p:cNvSpPr>
            <p:nvPr/>
          </p:nvSpPr>
          <p:spPr bwMode="auto">
            <a:xfrm>
              <a:off x="2678113" y="1303338"/>
              <a:ext cx="4040187" cy="3021012"/>
            </a:xfrm>
            <a:prstGeom prst="rect">
              <a:avLst/>
            </a:prstGeom>
            <a:solidFill>
              <a:srgbClr val="FFFFFF">
                <a:alpha val="88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AutoShape 263"/>
            <p:cNvSpPr>
              <a:spLocks noChangeArrowheads="1"/>
            </p:cNvSpPr>
            <p:nvPr/>
          </p:nvSpPr>
          <p:spPr bwMode="auto">
            <a:xfrm rot="10800000" flipV="1">
              <a:off x="741363" y="2073275"/>
              <a:ext cx="7646987" cy="290513"/>
            </a:xfrm>
            <a:prstGeom prst="roundRect">
              <a:avLst>
                <a:gd name="adj" fmla="val 4546"/>
              </a:avLst>
            </a:prstGeom>
            <a:noFill/>
            <a:ln w="38100">
              <a:solidFill>
                <a:srgbClr val="DDDDD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5720" rIns="4572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tudes et ingénierie</a:t>
              </a:r>
              <a:endParaRPr kumimoji="0" lang="fr-FR" sz="1200" b="1" i="1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AutoShape 263"/>
            <p:cNvSpPr>
              <a:spLocks noChangeArrowheads="1"/>
            </p:cNvSpPr>
            <p:nvPr/>
          </p:nvSpPr>
          <p:spPr bwMode="auto">
            <a:xfrm rot="10800000" flipV="1">
              <a:off x="741363" y="2493963"/>
              <a:ext cx="3227387" cy="1760537"/>
            </a:xfrm>
            <a:prstGeom prst="roundRect">
              <a:avLst>
                <a:gd name="adj" fmla="val 4546"/>
              </a:avLst>
            </a:prstGeom>
            <a:noFill/>
            <a:ln w="38100">
              <a:solidFill>
                <a:srgbClr val="47BBE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5720" tIns="118800" rIns="4572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2CB1EC"/>
                  </a:solidFill>
                  <a:effectLst/>
                  <a:uLnTx/>
                  <a:uFillTx/>
                </a:rPr>
                <a:t>Transport</a:t>
              </a:r>
              <a:endParaRPr kumimoji="0" lang="fr-FR" sz="1200" b="1" i="1" u="none" strike="noStrike" kern="0" cap="none" spc="0" normalizeH="0" baseline="0" noProof="0" smtClean="0">
                <a:ln>
                  <a:noFill/>
                </a:ln>
                <a:solidFill>
                  <a:srgbClr val="2CB1EC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AutoShape 263"/>
            <p:cNvSpPr>
              <a:spLocks noChangeArrowheads="1"/>
            </p:cNvSpPr>
            <p:nvPr/>
          </p:nvSpPr>
          <p:spPr bwMode="auto">
            <a:xfrm rot="10800000" flipV="1">
              <a:off x="5299075" y="2493963"/>
              <a:ext cx="3089275" cy="1760537"/>
            </a:xfrm>
            <a:prstGeom prst="roundRect">
              <a:avLst>
                <a:gd name="adj" fmla="val 4546"/>
              </a:avLst>
            </a:prstGeom>
            <a:noFill/>
            <a:ln w="38100">
              <a:solidFill>
                <a:srgbClr val="00529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5720" tIns="118800" rIns="4572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Logistique</a:t>
              </a:r>
              <a:endParaRPr kumimoji="0" lang="fr-FR" sz="1200" b="1" i="1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AutoShape 18"/>
            <p:cNvSpPr>
              <a:spLocks noChangeArrowheads="1"/>
            </p:cNvSpPr>
            <p:nvPr/>
          </p:nvSpPr>
          <p:spPr bwMode="auto">
            <a:xfrm>
              <a:off x="4071938" y="2484438"/>
              <a:ext cx="1092200" cy="1768475"/>
            </a:xfrm>
            <a:prstGeom prst="roundRect">
              <a:avLst>
                <a:gd name="adj" fmla="val 16667"/>
              </a:avLst>
            </a:prstGeom>
            <a:noFill/>
            <a:ln w="38100" algn="ctr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72000" tIns="118800" rIns="72000"/>
            <a:lstStyle/>
            <a:p>
              <a:pPr marL="0" marR="0" lvl="0" indent="0" defTabSz="873125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SI</a:t>
              </a:r>
            </a:p>
          </p:txBody>
        </p:sp>
        <p:sp>
          <p:nvSpPr>
            <p:cNvPr id="312" name="AutoShape 19"/>
            <p:cNvSpPr>
              <a:spLocks noChangeArrowheads="1"/>
            </p:cNvSpPr>
            <p:nvPr/>
          </p:nvSpPr>
          <p:spPr bwMode="auto">
            <a:xfrm rot="16200000">
              <a:off x="-742156" y="2666206"/>
              <a:ext cx="2457450" cy="363538"/>
            </a:xfrm>
            <a:prstGeom prst="triangle">
              <a:avLst>
                <a:gd name="adj" fmla="val 50000"/>
              </a:avLst>
            </a:prstGeom>
            <a:solidFill>
              <a:srgbClr val="47BB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AutoShape 20"/>
            <p:cNvSpPr>
              <a:spLocks noChangeArrowheads="1"/>
            </p:cNvSpPr>
            <p:nvPr/>
          </p:nvSpPr>
          <p:spPr bwMode="auto">
            <a:xfrm rot="5400000" flipH="1">
              <a:off x="7414419" y="2666206"/>
              <a:ext cx="2457450" cy="363538"/>
            </a:xfrm>
            <a:prstGeom prst="triangle">
              <a:avLst>
                <a:gd name="adj" fmla="val 50000"/>
              </a:avLst>
            </a:prstGeom>
            <a:solidFill>
              <a:srgbClr val="00529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4" name="Picture 21" descr="STT+ villes v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807"/>
            <a:stretch>
              <a:fillRect/>
            </a:stretch>
          </p:blipFill>
          <p:spPr bwMode="auto">
            <a:xfrm>
              <a:off x="2697163" y="2879725"/>
              <a:ext cx="1206500" cy="1173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5" name="Line 22"/>
            <p:cNvSpPr>
              <a:spLocks noChangeShapeType="1"/>
            </p:cNvSpPr>
            <p:nvPr/>
          </p:nvSpPr>
          <p:spPr bwMode="auto">
            <a:xfrm>
              <a:off x="2019300" y="3467100"/>
              <a:ext cx="677863" cy="0"/>
            </a:xfrm>
            <a:prstGeom prst="line">
              <a:avLst/>
            </a:prstGeom>
            <a:noFill/>
            <a:ln w="25400">
              <a:solidFill>
                <a:srgbClr val="00529E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6" name="Text Box 23"/>
            <p:cNvSpPr txBox="1">
              <a:spLocks noChangeArrowheads="1"/>
            </p:cNvSpPr>
            <p:nvPr/>
          </p:nvSpPr>
          <p:spPr bwMode="auto">
            <a:xfrm>
              <a:off x="942975" y="4017963"/>
              <a:ext cx="1177925" cy="182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1" u="none" strike="noStrike" kern="0" cap="none" spc="0" normalizeH="0" baseline="0" noProof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Flux massifiés</a:t>
              </a:r>
            </a:p>
          </p:txBody>
        </p:sp>
        <p:sp>
          <p:nvSpPr>
            <p:cNvPr id="317" name="Text Box 24"/>
            <p:cNvSpPr txBox="1">
              <a:spLocks noChangeArrowheads="1"/>
            </p:cNvSpPr>
            <p:nvPr/>
          </p:nvSpPr>
          <p:spPr bwMode="auto">
            <a:xfrm>
              <a:off x="2790825" y="4017963"/>
              <a:ext cx="1177925" cy="182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1" u="none" strike="noStrike" kern="0" cap="none" spc="0" normalizeH="0" baseline="0" noProof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Flux de détail</a:t>
              </a:r>
            </a:p>
          </p:txBody>
        </p:sp>
        <p:pic>
          <p:nvPicPr>
            <p:cNvPr id="318" name="Picture 2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2881313"/>
              <a:ext cx="1181100" cy="1173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319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0200" y="3795713"/>
              <a:ext cx="509588" cy="360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0" name="Picture 2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1938" y="2954338"/>
              <a:ext cx="511175" cy="360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1" name="Picture 2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9788" y="2954338"/>
              <a:ext cx="514350" cy="360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2" name="Picture 29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9788" y="3795713"/>
              <a:ext cx="500062" cy="3603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3" name="Picture 30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1025" y="3341688"/>
              <a:ext cx="479425" cy="358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4" name="Picture 31"/>
            <p:cNvPicPr preferRelativeResize="0"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5725" y="3059113"/>
              <a:ext cx="519113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5" name="Picture 32"/>
            <p:cNvPicPr preferRelativeResize="0"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4438" y="2981325"/>
              <a:ext cx="439737" cy="681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326" name="Text Box 33"/>
            <p:cNvSpPr txBox="1">
              <a:spLocks noChangeArrowheads="1"/>
            </p:cNvSpPr>
            <p:nvPr/>
          </p:nvSpPr>
          <p:spPr bwMode="auto">
            <a:xfrm>
              <a:off x="6213475" y="3700463"/>
              <a:ext cx="600075" cy="365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1" u="none" strike="noStrike" kern="0" cap="none" spc="0" normalizeH="0" baseline="0" noProof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Flux stockés</a:t>
              </a:r>
            </a:p>
          </p:txBody>
        </p:sp>
        <p:sp>
          <p:nvSpPr>
            <p:cNvPr id="327" name="Text Box 34"/>
            <p:cNvSpPr txBox="1">
              <a:spLocks noChangeArrowheads="1"/>
            </p:cNvSpPr>
            <p:nvPr/>
          </p:nvSpPr>
          <p:spPr bwMode="auto">
            <a:xfrm>
              <a:off x="6938963" y="3700463"/>
              <a:ext cx="600075" cy="365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1" u="none" strike="noStrike" kern="0" cap="none" spc="0" normalizeH="0" baseline="0" noProof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Flux tendus</a:t>
              </a:r>
            </a:p>
          </p:txBody>
        </p:sp>
        <p:grpSp>
          <p:nvGrpSpPr>
            <p:cNvPr id="328" name="Group 35"/>
            <p:cNvGrpSpPr>
              <a:grpSpLocks noChangeAspect="1"/>
            </p:cNvGrpSpPr>
            <p:nvPr/>
          </p:nvGrpSpPr>
          <p:grpSpPr bwMode="auto">
            <a:xfrm>
              <a:off x="6861175" y="2962275"/>
              <a:ext cx="623888" cy="679450"/>
              <a:chOff x="4274" y="2520"/>
              <a:chExt cx="420" cy="459"/>
            </a:xfrm>
          </p:grpSpPr>
          <p:pic>
            <p:nvPicPr>
              <p:cNvPr id="329" name="Picture 36"/>
              <p:cNvPicPr preferRelativeResize="0"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76" y="2526"/>
                <a:ext cx="318" cy="4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529E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rgbClr val="C0C0C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</p:pic>
          <p:sp>
            <p:nvSpPr>
              <p:cNvPr id="330" name="AutoShape 37"/>
              <p:cNvSpPr>
                <a:spLocks noChangeAspect="1" noChangeArrowheads="1"/>
              </p:cNvSpPr>
              <p:nvPr/>
            </p:nvSpPr>
            <p:spPr bwMode="auto">
              <a:xfrm rot="1747653">
                <a:off x="4274" y="2520"/>
                <a:ext cx="138" cy="129"/>
              </a:xfrm>
              <a:prstGeom prst="rightArrow">
                <a:avLst>
                  <a:gd name="adj1" fmla="val 50000"/>
                  <a:gd name="adj2" fmla="val 26744"/>
                </a:avLst>
              </a:prstGeom>
              <a:solidFill>
                <a:srgbClr val="00529E"/>
              </a:solidFill>
              <a:ln>
                <a:noFill/>
              </a:ln>
              <a:effectLst>
                <a:prstShdw prst="shdw17" dist="17961" dir="2700000">
                  <a:srgbClr val="DDDDDD"/>
                </a:prstShdw>
              </a:effectLst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529E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1" name="AutoShape 38"/>
              <p:cNvSpPr>
                <a:spLocks noChangeAspect="1" noChangeArrowheads="1"/>
              </p:cNvSpPr>
              <p:nvPr/>
            </p:nvSpPr>
            <p:spPr bwMode="auto">
              <a:xfrm rot="1747653">
                <a:off x="4553" y="2737"/>
                <a:ext cx="139" cy="129"/>
              </a:xfrm>
              <a:prstGeom prst="rightArrow">
                <a:avLst>
                  <a:gd name="adj1" fmla="val 50000"/>
                  <a:gd name="adj2" fmla="val 26938"/>
                </a:avLst>
              </a:prstGeom>
              <a:solidFill>
                <a:srgbClr val="00529E"/>
              </a:solidFill>
              <a:ln>
                <a:noFill/>
              </a:ln>
              <a:effectLst>
                <a:prstShdw prst="shdw17" dist="17961" dir="2700000">
                  <a:srgbClr val="DDDDDD"/>
                </a:prstShdw>
              </a:effectLst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529E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332" name="Picture 39"/>
            <p:cNvPicPr preferRelativeResize="0"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0513" y="3090863"/>
              <a:ext cx="801687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333" name="Text Box 40"/>
            <p:cNvSpPr txBox="1">
              <a:spLocks noChangeArrowheads="1"/>
            </p:cNvSpPr>
            <p:nvPr/>
          </p:nvSpPr>
          <p:spPr bwMode="auto">
            <a:xfrm>
              <a:off x="5322888" y="3654425"/>
              <a:ext cx="890587" cy="5476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1" u="none" strike="noStrike" kern="0" cap="none" spc="0" normalizeH="0" baseline="0" noProof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Entreposage de matières premières</a:t>
              </a:r>
            </a:p>
          </p:txBody>
        </p:sp>
        <p:sp>
          <p:nvSpPr>
            <p:cNvPr id="334" name="Text Box 41"/>
            <p:cNvSpPr txBox="1">
              <a:spLocks noChangeArrowheads="1"/>
            </p:cNvSpPr>
            <p:nvPr/>
          </p:nvSpPr>
          <p:spPr bwMode="auto">
            <a:xfrm>
              <a:off x="7539038" y="3567113"/>
              <a:ext cx="850900" cy="660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1pPr>
              <a:lvl2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2pPr>
              <a:lvl3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3pPr>
              <a:lvl4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4pPr>
              <a:lvl5pPr algn="l" defTabSz="873125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5pPr>
              <a:lvl6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6pPr>
              <a:lvl7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7pPr>
              <a:lvl8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8pPr>
              <a:lvl9pPr defTabSz="873125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-106" charset="-128"/>
                </a:defRPr>
              </a:lvl9pPr>
            </a:lstStyle>
            <a:p>
              <a:pPr marL="0" marR="0" lvl="0" indent="0" algn="ctr" defTabSz="87312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Services (</a:t>
              </a:r>
              <a:r>
                <a:rPr kumimoji="0" lang="fr-FR" sz="1200" b="0" i="1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co-packing</a:t>
              </a:r>
              <a:r>
                <a:rPr kumimoji="0" lang="fr-FR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, gestion des </a:t>
              </a:r>
              <a:r>
                <a:rPr kumimoji="0" lang="fr-FR" sz="1200" b="0" i="1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appro</a:t>
              </a:r>
              <a:r>
                <a:rPr kumimoji="0" lang="fr-FR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529E"/>
                  </a:solidFill>
                  <a:effectLst/>
                  <a:uLnTx/>
                  <a:uFillTx/>
                  <a:latin typeface="Arial" pitchFamily="34" charset="0"/>
                  <a:ea typeface="ＭＳ Ｐゴシック" pitchFamily="-106" charset="-128"/>
                </a:rPr>
                <a:t>)</a:t>
              </a:r>
            </a:p>
          </p:txBody>
        </p:sp>
        <p:sp>
          <p:nvSpPr>
            <p:cNvPr id="335" name="AutoShape 42"/>
            <p:cNvSpPr>
              <a:spLocks noChangeArrowheads="1"/>
            </p:cNvSpPr>
            <p:nvPr/>
          </p:nvSpPr>
          <p:spPr bwMode="auto">
            <a:xfrm>
              <a:off x="741363" y="1462088"/>
              <a:ext cx="7645400" cy="482600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47BBEF"/>
                </a:gs>
                <a:gs pos="100000">
                  <a:srgbClr val="00529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6" name="AutoShape 43"/>
            <p:cNvSpPr>
              <a:spLocks noChangeArrowheads="1"/>
            </p:cNvSpPr>
            <p:nvPr/>
          </p:nvSpPr>
          <p:spPr bwMode="auto">
            <a:xfrm>
              <a:off x="788988" y="1503363"/>
              <a:ext cx="7550150" cy="400050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529E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87312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Pilotage de la chaîne logistique </a:t>
              </a:r>
              <a:r>
                <a:rPr kumimoji="0" lang="fr-FR" sz="1200" b="0" i="1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(flux physiques et administratifs)</a:t>
              </a:r>
              <a:endPara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>
                  <a:solidFill>
                    <a:srgbClr val="00519E"/>
                  </a:solidFill>
                  <a:latin typeface="Arial Narrow" pitchFamily="34" charset="0"/>
                </a:rPr>
                <a:t>STEF IT </a:t>
              </a:r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(3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1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e 3"/>
          <p:cNvGrpSpPr/>
          <p:nvPr/>
        </p:nvGrpSpPr>
        <p:grpSpPr>
          <a:xfrm>
            <a:off x="3187825" y="1931988"/>
            <a:ext cx="3284228" cy="3791918"/>
            <a:chOff x="3187825" y="1931988"/>
            <a:chExt cx="3284228" cy="3791918"/>
          </a:xfrm>
        </p:grpSpPr>
        <p:sp>
          <p:nvSpPr>
            <p:cNvPr id="260" name="AutoShape 18"/>
            <p:cNvSpPr>
              <a:spLocks noChangeArrowheads="1"/>
            </p:cNvSpPr>
            <p:nvPr/>
          </p:nvSpPr>
          <p:spPr bwMode="auto">
            <a:xfrm>
              <a:off x="3187825" y="1931988"/>
              <a:ext cx="3284228" cy="3791918"/>
            </a:xfrm>
            <a:prstGeom prst="roundRect">
              <a:avLst>
                <a:gd name="adj" fmla="val 16667"/>
              </a:avLst>
            </a:prstGeom>
            <a:noFill/>
            <a:ln w="38100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C0C0C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72000" tIns="118800" rIns="72000"/>
            <a:lstStyle/>
            <a:p>
              <a:pPr defTabSz="873125">
                <a:spcBef>
                  <a:spcPct val="50000"/>
                </a:spcBef>
              </a:pPr>
              <a:r>
                <a:rPr lang="fr-FR" b="1"/>
                <a:t>SI</a:t>
              </a:r>
            </a:p>
          </p:txBody>
        </p:sp>
        <p:pic>
          <p:nvPicPr>
            <p:cNvPr id="261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6359" y="4326864"/>
              <a:ext cx="1532323" cy="1083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2" name="Picture 2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0344" y="2245049"/>
              <a:ext cx="1537095" cy="1083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3" name="Picture 2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6800" y="2245050"/>
              <a:ext cx="1546642" cy="1083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4" name="Picture 29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8682" y="4326865"/>
              <a:ext cx="1503678" cy="1083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5" name="Picture 30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5141" y="3288532"/>
              <a:ext cx="1441623" cy="10788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66" name="Text Box 2"/>
          <p:cNvSpPr txBox="1">
            <a:spLocks noChangeArrowheads="1"/>
          </p:cNvSpPr>
          <p:nvPr/>
        </p:nvSpPr>
        <p:spPr bwMode="auto">
          <a:xfrm>
            <a:off x="1660520" y="1102059"/>
            <a:ext cx="7790528" cy="400083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ctr" defTabSz="914400" eaLnBrk="1" hangingPunct="1">
              <a:spcBef>
                <a:spcPct val="50000"/>
              </a:spcBef>
            </a:pPr>
            <a:r>
              <a:rPr lang="en-US" sz="2000" b="1" dirty="0" smtClean="0">
                <a:solidFill>
                  <a:schemeClr val="tx2"/>
                </a:solidFill>
              </a:rPr>
              <a:t>Un SI </a:t>
            </a:r>
            <a:r>
              <a:rPr lang="en-US" sz="2000" b="1" dirty="0" err="1" smtClean="0">
                <a:solidFill>
                  <a:schemeClr val="tx2"/>
                </a:solidFill>
              </a:rPr>
              <a:t>Groupe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permettant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l’intégration</a:t>
            </a:r>
            <a:r>
              <a:rPr lang="en-US" sz="2000" b="1" dirty="0" smtClean="0">
                <a:solidFill>
                  <a:schemeClr val="tx2"/>
                </a:solidFill>
              </a:rPr>
              <a:t> de </a:t>
            </a:r>
            <a:r>
              <a:rPr lang="en-US" sz="2000" b="1" dirty="0" err="1" smtClean="0">
                <a:solidFill>
                  <a:schemeClr val="tx2"/>
                </a:solidFill>
              </a:rPr>
              <a:t>processus</a:t>
            </a:r>
            <a:r>
              <a:rPr lang="en-US" sz="2000" b="1" dirty="0" smtClean="0">
                <a:solidFill>
                  <a:schemeClr val="tx2"/>
                </a:solidFill>
              </a:rPr>
              <a:t> métiers…</a:t>
            </a:r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163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53" presetClass="entr" presetSubtype="16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>
                  <a:solidFill>
                    <a:srgbClr val="00519E"/>
                  </a:solidFill>
                  <a:latin typeface="Arial Narrow" pitchFamily="34" charset="0"/>
                </a:rPr>
                <a:t>STEF IT </a:t>
              </a:r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(4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" name="Text Box 2"/>
          <p:cNvSpPr txBox="1">
            <a:spLocks noChangeArrowheads="1"/>
          </p:cNvSpPr>
          <p:nvPr/>
        </p:nvSpPr>
        <p:spPr bwMode="auto">
          <a:xfrm>
            <a:off x="1660520" y="1102059"/>
            <a:ext cx="7790528" cy="400083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defTabSz="914400" eaLnBrk="1" hangingPunct="1">
              <a:spcBef>
                <a:spcPct val="50000"/>
              </a:spcBef>
            </a:pPr>
            <a:r>
              <a:rPr lang="en-US" sz="2000" b="1" dirty="0" smtClean="0">
                <a:solidFill>
                  <a:schemeClr val="tx2"/>
                </a:solidFill>
              </a:rPr>
              <a:t>… et </a:t>
            </a:r>
            <a:r>
              <a:rPr lang="en-US" sz="2000" b="1" dirty="0" err="1" smtClean="0">
                <a:solidFill>
                  <a:schemeClr val="tx2"/>
                </a:solidFill>
              </a:rPr>
              <a:t>basé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sur</a:t>
            </a:r>
            <a:r>
              <a:rPr lang="en-US" sz="2000" b="1" dirty="0" smtClean="0">
                <a:solidFill>
                  <a:schemeClr val="tx2"/>
                </a:solidFill>
              </a:rPr>
              <a:t> des </a:t>
            </a:r>
            <a:r>
              <a:rPr lang="en-US" sz="2000" b="1" dirty="0" err="1" smtClean="0">
                <a:solidFill>
                  <a:schemeClr val="tx2"/>
                </a:solidFill>
              </a:rPr>
              <a:t>partenaires</a:t>
            </a:r>
            <a:r>
              <a:rPr lang="en-US" sz="2000" b="1" dirty="0" smtClean="0">
                <a:solidFill>
                  <a:schemeClr val="tx2"/>
                </a:solidFill>
              </a:rPr>
              <a:t> leaders</a:t>
            </a: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52" name="Rectangle 3"/>
          <p:cNvSpPr txBox="1">
            <a:spLocks noChangeArrowheads="1"/>
          </p:cNvSpPr>
          <p:nvPr/>
        </p:nvSpPr>
        <p:spPr>
          <a:xfrm>
            <a:off x="523875" y="1663700"/>
            <a:ext cx="5697538" cy="4403725"/>
          </a:xfrm>
          <a:prstGeom prst="rect">
            <a:avLst/>
          </a:prstGeom>
        </p:spPr>
        <p:txBody>
          <a:bodyPr/>
          <a:lstStyle>
            <a:lvl1pPr marL="365125" indent="-365125" algn="l" defTabSz="974725" rtl="0" eaLnBrk="0" fontAlgn="base" hangingPunct="0">
              <a:spcBef>
                <a:spcPts val="1200"/>
              </a:spcBef>
              <a:spcAft>
                <a:spcPct val="0"/>
              </a:spcAft>
              <a:buBlip>
                <a:blip r:embed="rId5"/>
              </a:buBlip>
              <a:defRPr lang="fr-FR" sz="24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1pPr>
            <a:lvl2pPr marL="792163" indent="-303213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6"/>
              </a:buBlip>
              <a:defRPr lang="fr-FR" sz="20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2pPr>
            <a:lvl3pPr marL="121761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6"/>
              </a:buBlip>
              <a:defRPr lang="fr-FR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3pPr>
            <a:lvl4pPr marL="170656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6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4pPr>
            <a:lvl5pPr marL="2193925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6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5pPr>
            <a:lvl6pPr marL="268207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6972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37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02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0" indent="-3810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Editeurs ERP</a:t>
            </a:r>
          </a:p>
          <a:p>
            <a:pPr marL="819150" lvl="1" indent="-3429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SAP</a:t>
            </a:r>
          </a:p>
          <a:p>
            <a:pPr marL="819150" lvl="1" indent="-3429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MICROSOFT Dynamics AX</a:t>
            </a:r>
          </a:p>
          <a:p>
            <a:pPr marL="819150" lvl="1" indent="-342900" defTabSz="914400">
              <a:lnSpc>
                <a:spcPct val="95000"/>
              </a:lnSpc>
              <a:spcBef>
                <a:spcPct val="60000"/>
              </a:spcBef>
            </a:pPr>
            <a:endParaRPr lang="fr-FR" dirty="0" smtClean="0"/>
          </a:p>
          <a:p>
            <a:pPr marL="381000" indent="-3810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Partenaires techniques</a:t>
            </a:r>
          </a:p>
          <a:p>
            <a:pPr marL="819150" lvl="1" indent="-3429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HP :  serveurs </a:t>
            </a:r>
          </a:p>
          <a:p>
            <a:pPr marL="819150" lvl="1" indent="-3429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CITRIX  : virtualisation</a:t>
            </a:r>
          </a:p>
          <a:p>
            <a:pPr marL="819150" lvl="1" indent="-3429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ORACLE : base des données &amp; outils</a:t>
            </a:r>
          </a:p>
          <a:p>
            <a:pPr marL="819150" lvl="1" indent="-342900" defTabSz="914400">
              <a:lnSpc>
                <a:spcPct val="95000"/>
              </a:lnSpc>
              <a:spcBef>
                <a:spcPct val="60000"/>
              </a:spcBef>
            </a:pPr>
            <a:r>
              <a:rPr lang="fr-FR" dirty="0" smtClean="0"/>
              <a:t>ORANGE :  mobilité &amp; RFID</a:t>
            </a:r>
            <a:endParaRPr lang="fr-FR" dirty="0"/>
          </a:p>
        </p:txBody>
      </p:sp>
      <p:pic>
        <p:nvPicPr>
          <p:cNvPr id="53" name="Picture 4" descr="hp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9813" y="3070225"/>
            <a:ext cx="1490662" cy="149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" descr="ORACL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3514725"/>
            <a:ext cx="1990725" cy="60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" descr="sap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025" y="2081213"/>
            <a:ext cx="982663" cy="98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2" descr="Dynmics AX Axapta logo rev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588" y="2295525"/>
            <a:ext cx="2371725" cy="479425"/>
          </a:xfrm>
          <a:prstGeom prst="rect">
            <a:avLst/>
          </a:prstGeom>
          <a:solidFill>
            <a:srgbClr val="000099"/>
          </a:solidFill>
          <a:ln w="9525">
            <a:solidFill>
              <a:srgbClr val="0000CC"/>
            </a:solidFill>
            <a:miter lim="800000"/>
            <a:headEnd/>
            <a:tailEnd/>
          </a:ln>
        </p:spPr>
      </p:pic>
      <p:pic>
        <p:nvPicPr>
          <p:cNvPr id="57" name="Picture 8" descr="orang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4416425"/>
            <a:ext cx="960437" cy="960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623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STEF IT - Pôle Logistique (1/2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1660520" y="1023210"/>
            <a:ext cx="7790528" cy="461639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defTabSz="914400" eaLnBrk="1" hangingPunct="1">
              <a:spcBef>
                <a:spcPct val="50000"/>
              </a:spcBef>
            </a:pPr>
            <a:r>
              <a:rPr lang="en-US" sz="2400" b="1" dirty="0" err="1" smtClean="0">
                <a:solidFill>
                  <a:schemeClr val="tx2"/>
                </a:solidFill>
              </a:rPr>
              <a:t>Ses</a:t>
            </a:r>
            <a:r>
              <a:rPr lang="en-US" sz="2400" b="1" dirty="0" smtClean="0">
                <a:solidFill>
                  <a:schemeClr val="tx2"/>
                </a:solidFill>
              </a:rPr>
              <a:t> missions …</a:t>
            </a: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16" name="Espace réservé du contenu 8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67566" y="1676400"/>
            <a:ext cx="9032875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530" tIns="48765" rIns="97530" bIns="48765"/>
          <a:lstStyle/>
          <a:p>
            <a:pPr marL="534988" lvl="1" indent="-342900" defTabSz="914400" eaLnBrk="0" hangingPunct="0">
              <a:lnSpc>
                <a:spcPct val="95000"/>
              </a:lnSpc>
              <a:spcBef>
                <a:spcPct val="60000"/>
              </a:spcBef>
              <a:buBlip>
                <a:blip r:embed="rId6"/>
              </a:buBlip>
              <a:defRPr/>
            </a:pPr>
            <a:r>
              <a:rPr lang="fr-FR" sz="2000" dirty="0">
                <a:solidFill>
                  <a:srgbClr val="00519E"/>
                </a:solidFill>
                <a:latin typeface="+mn-lt"/>
                <a:ea typeface="ＭＳ Ｐゴシック" charset="0"/>
              </a:rPr>
              <a:t>Point d’entrée unique des activités de Prestation Logistique pour le suivi et l’évolution de son Système </a:t>
            </a:r>
            <a:r>
              <a:rPr lang="fr-FR" sz="2000" dirty="0" smtClean="0">
                <a:solidFill>
                  <a:srgbClr val="00519E"/>
                </a:solidFill>
                <a:latin typeface="+mn-lt"/>
                <a:ea typeface="ＭＳ Ｐゴシック" charset="0"/>
              </a:rPr>
              <a:t>d’Information</a:t>
            </a:r>
          </a:p>
          <a:p>
            <a:pPr marL="1022350" lvl="2" indent="-342900" defTabSz="914400" eaLnBrk="0" hangingPunct="0">
              <a:lnSpc>
                <a:spcPct val="95000"/>
              </a:lnSpc>
              <a:spcBef>
                <a:spcPct val="60000"/>
              </a:spcBef>
              <a:buBlip>
                <a:blip r:embed="rId6"/>
              </a:buBlip>
              <a:defRPr/>
            </a:pPr>
            <a:r>
              <a:rPr lang="fr-FR" sz="1800" dirty="0" smtClean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ＭＳ Ｐゴシック" charset="0"/>
              </a:rPr>
              <a:t>G</a:t>
            </a:r>
            <a:r>
              <a:rPr lang="fr-FR" sz="18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estion </a:t>
            </a:r>
            <a:r>
              <a:rPr lang="fr-FR" sz="18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des plans produits des outils Logistiques (WMS et Agrorest) en collaboration avec la </a:t>
            </a:r>
            <a:r>
              <a:rPr lang="fr-FR" sz="18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Direction Prestation Logistique (DPL)</a:t>
            </a:r>
            <a:endParaRPr lang="fr-FR" sz="18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  <a:p>
            <a:pPr marL="342900" indent="-342900" defTabSz="914400" eaLnBrk="0" hangingPunct="0">
              <a:lnSpc>
                <a:spcPct val="95000"/>
              </a:lnSpc>
              <a:spcBef>
                <a:spcPct val="60000"/>
              </a:spcBef>
              <a:buBlip>
                <a:blip r:embed="rId6"/>
              </a:buBlip>
              <a:defRPr/>
            </a:pPr>
            <a:r>
              <a:rPr lang="fr-FR" sz="2000" dirty="0" smtClean="0">
                <a:solidFill>
                  <a:srgbClr val="00519E"/>
                </a:solidFill>
                <a:latin typeface="+mn-lt"/>
                <a:ea typeface="ＭＳ Ｐゴシック" charset="0"/>
              </a:rPr>
              <a:t>Garantir </a:t>
            </a:r>
            <a:r>
              <a:rPr lang="fr-FR" sz="2000" dirty="0">
                <a:solidFill>
                  <a:srgbClr val="00519E"/>
                </a:solidFill>
                <a:latin typeface="+mn-lt"/>
                <a:ea typeface="ＭＳ Ｐゴシック" charset="0"/>
              </a:rPr>
              <a:t>à Stef Logistique France la bonne adéquation entre son SI, les performances de son SI et les coûts </a:t>
            </a:r>
            <a:r>
              <a:rPr lang="fr-FR" sz="2000" dirty="0" smtClean="0">
                <a:solidFill>
                  <a:srgbClr val="00519E"/>
                </a:solidFill>
                <a:latin typeface="+mn-lt"/>
                <a:ea typeface="ＭＳ Ｐゴシック" charset="0"/>
              </a:rPr>
              <a:t>associés</a:t>
            </a:r>
          </a:p>
          <a:p>
            <a:pPr marL="985838" lvl="2" indent="-342900" defTabSz="914400" eaLnBrk="0" hangingPunct="0">
              <a:lnSpc>
                <a:spcPct val="95000"/>
              </a:lnSpc>
              <a:spcBef>
                <a:spcPct val="60000"/>
              </a:spcBef>
              <a:buBlip>
                <a:blip r:embed="rId6"/>
              </a:buBlip>
              <a:defRPr/>
            </a:pPr>
            <a:r>
              <a:rPr lang="fr-FR" sz="1800" dirty="0" smtClean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ＭＳ Ｐゴシック" charset="0"/>
                <a:sym typeface="Wingdings" pitchFamily="2" charset="2"/>
              </a:rPr>
              <a:t>Gestion </a:t>
            </a:r>
            <a:r>
              <a:rPr lang="fr-FR" sz="18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ＭＳ Ｐゴシック" charset="0"/>
                <a:sym typeface="Wingdings" pitchFamily="2" charset="2"/>
              </a:rPr>
              <a:t>du suivi budgétaire de Stef Logistique France et de la composante Informatique Logistique</a:t>
            </a:r>
            <a:endParaRPr lang="fr-FR" sz="1800" dirty="0">
              <a:solidFill>
                <a:schemeClr val="tx1">
                  <a:lumMod val="40000"/>
                  <a:lumOff val="60000"/>
                </a:schemeClr>
              </a:solidFill>
              <a:latin typeface="+mn-lt"/>
              <a:ea typeface="ＭＳ Ｐゴシック" charset="0"/>
            </a:endParaRPr>
          </a:p>
          <a:p>
            <a:pPr marL="342900" indent="-342900" defTabSz="914400" eaLnBrk="0" hangingPunct="0">
              <a:lnSpc>
                <a:spcPct val="95000"/>
              </a:lnSpc>
              <a:spcBef>
                <a:spcPct val="60000"/>
              </a:spcBef>
              <a:buBlip>
                <a:blip r:embed="rId6"/>
              </a:buBlip>
              <a:defRPr/>
            </a:pPr>
            <a:r>
              <a:rPr lang="fr-FR" sz="2000" dirty="0" smtClean="0">
                <a:solidFill>
                  <a:srgbClr val="00519E"/>
                </a:solidFill>
                <a:latin typeface="+mn-lt"/>
                <a:ea typeface="ＭＳ Ｐゴシック" charset="0"/>
              </a:rPr>
              <a:t>Accompagner </a:t>
            </a:r>
            <a:r>
              <a:rPr lang="fr-FR" sz="2000" dirty="0">
                <a:solidFill>
                  <a:srgbClr val="00519E"/>
                </a:solidFill>
                <a:latin typeface="+mn-lt"/>
                <a:ea typeface="ＭＳ Ｐゴシック" charset="0"/>
              </a:rPr>
              <a:t>les sites prestation logistique auprès de ses clients et prospects pour mettre en avant les qualités, les capacités et les performances de ses outils métiers (AX, WMS, EDI, suivi, …)</a:t>
            </a:r>
          </a:p>
          <a:p>
            <a:pPr marL="342900" indent="-342900" defTabSz="914400" eaLnBrk="0" hangingPunct="0">
              <a:lnSpc>
                <a:spcPct val="95000"/>
              </a:lnSpc>
              <a:spcBef>
                <a:spcPct val="60000"/>
              </a:spcBef>
              <a:buBlip>
                <a:blip r:embed="rId6"/>
              </a:buBlip>
              <a:defRPr/>
            </a:pPr>
            <a:r>
              <a:rPr lang="fr-FR" sz="2000" dirty="0" smtClean="0">
                <a:solidFill>
                  <a:srgbClr val="00519E"/>
                </a:solidFill>
                <a:latin typeface="+mn-lt"/>
                <a:ea typeface="ＭＳ Ｐゴシック" charset="0"/>
              </a:rPr>
              <a:t>Coordonner </a:t>
            </a:r>
            <a:r>
              <a:rPr lang="fr-FR" sz="2000" dirty="0">
                <a:solidFill>
                  <a:srgbClr val="00519E"/>
                </a:solidFill>
                <a:latin typeface="+mn-lt"/>
                <a:ea typeface="ＭＳ Ｐゴシック" charset="0"/>
              </a:rPr>
              <a:t>les actions de Stef Information et Technologies pour Stef Logistique France et plus largement les utilisateurs WMS et AGROREST du Groupe</a:t>
            </a:r>
          </a:p>
          <a:p>
            <a:pPr>
              <a:lnSpc>
                <a:spcPct val="90000"/>
              </a:lnSpc>
              <a:defRPr/>
            </a:pPr>
            <a:endParaRPr lang="fr-FR" sz="20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984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STEF IT - Pôle Logistique (2/2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1660520" y="1023210"/>
            <a:ext cx="7790528" cy="461639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defTabSz="914400" eaLnBrk="1" hangingPunct="1">
              <a:spcBef>
                <a:spcPct val="50000"/>
              </a:spcBef>
            </a:pPr>
            <a:r>
              <a:rPr lang="en-US" sz="2400" b="1" dirty="0" smtClean="0">
                <a:solidFill>
                  <a:schemeClr val="tx2"/>
                </a:solidFill>
              </a:rPr>
              <a:t>… Son SI </a:t>
            </a:r>
            <a:r>
              <a:rPr lang="en-US" sz="2400" b="1" dirty="0" err="1" smtClean="0">
                <a:solidFill>
                  <a:schemeClr val="tx2"/>
                </a:solidFill>
              </a:rPr>
              <a:t>Logistique</a:t>
            </a:r>
            <a:endParaRPr lang="en-US" sz="2400" dirty="0">
              <a:solidFill>
                <a:schemeClr val="tx2"/>
              </a:solidFill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28" y="1593455"/>
            <a:ext cx="9478203" cy="4642246"/>
          </a:xfrm>
          <a:prstGeom prst="rect">
            <a:avLst/>
          </a:prstGeom>
          <a:noFill/>
          <a:ln>
            <a:noFill/>
          </a:ln>
          <a:effectLst>
            <a:outerShdw blurRad="419100" dist="279400" dir="3480000" algn="ctr" rotWithShape="0">
              <a:schemeClr val="bg1">
                <a:lumMod val="65000"/>
                <a:alpha val="80000"/>
              </a:schemeClr>
            </a:outerShdw>
          </a:effectLst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e 13"/>
          <p:cNvGrpSpPr>
            <a:grpSpLocks/>
          </p:cNvGrpSpPr>
          <p:nvPr/>
        </p:nvGrpSpPr>
        <p:grpSpPr bwMode="auto">
          <a:xfrm>
            <a:off x="257175" y="2674938"/>
            <a:ext cx="2087563" cy="601662"/>
            <a:chOff x="382137" y="3098039"/>
            <a:chExt cx="2088108" cy="601184"/>
          </a:xfrm>
        </p:grpSpPr>
        <p:sp>
          <p:nvSpPr>
            <p:cNvPr id="17" name="Flèche droite rayée 16"/>
            <p:cNvSpPr/>
            <p:nvPr/>
          </p:nvSpPr>
          <p:spPr>
            <a:xfrm>
              <a:off x="382137" y="3098039"/>
              <a:ext cx="2088108" cy="601184"/>
            </a:xfrm>
            <a:prstGeom prst="stripedRightArrow">
              <a:avLst/>
            </a:prstGeom>
            <a:solidFill>
              <a:srgbClr val="00519E">
                <a:alpha val="70000"/>
              </a:srgbClr>
            </a:solidFill>
            <a:ln w="63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>
                <a:defRPr/>
              </a:pPr>
              <a:endParaRPr lang="fr-FR" sz="1800">
                <a:cs typeface="Arial" pitchFamily="34" charset="0"/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872803" y="3212248"/>
              <a:ext cx="1487875" cy="38545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fr-FR" dirty="0">
                  <a:solidFill>
                    <a:schemeClr val="bg1">
                      <a:lumMod val="95000"/>
                    </a:schemeClr>
                  </a:solidFill>
                </a:rPr>
                <a:t>AMONT</a:t>
              </a:r>
            </a:p>
          </p:txBody>
        </p:sp>
      </p:grpSp>
      <p:grpSp>
        <p:nvGrpSpPr>
          <p:cNvPr id="19" name="Groupe 18"/>
          <p:cNvGrpSpPr>
            <a:grpSpLocks/>
          </p:cNvGrpSpPr>
          <p:nvPr/>
        </p:nvGrpSpPr>
        <p:grpSpPr bwMode="auto">
          <a:xfrm>
            <a:off x="7246938" y="2616200"/>
            <a:ext cx="2087562" cy="677863"/>
            <a:chOff x="6927305" y="3021043"/>
            <a:chExt cx="2088108" cy="678180"/>
          </a:xfrm>
        </p:grpSpPr>
        <p:sp>
          <p:nvSpPr>
            <p:cNvPr id="20" name="Flèche droite rayée 19"/>
            <p:cNvSpPr/>
            <p:nvPr/>
          </p:nvSpPr>
          <p:spPr>
            <a:xfrm>
              <a:off x="6927305" y="3021043"/>
              <a:ext cx="2088108" cy="678180"/>
            </a:xfrm>
            <a:prstGeom prst="stripedRightArrow">
              <a:avLst>
                <a:gd name="adj1" fmla="val 45460"/>
                <a:gd name="adj2" fmla="val 50000"/>
              </a:avLst>
            </a:prstGeom>
            <a:solidFill>
              <a:srgbClr val="00519E">
                <a:alpha val="70000"/>
              </a:srgbClr>
            </a:solidFill>
            <a:ln w="63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>
                <a:defRPr/>
              </a:pPr>
              <a:endParaRPr lang="fr-FR" sz="1800">
                <a:cs typeface="Arial" pitchFamily="34" charset="0"/>
              </a:endParaRPr>
            </a:p>
          </p:txBody>
        </p:sp>
        <p:sp>
          <p:nvSpPr>
            <p:cNvPr id="21" name="ZoneTexte 20"/>
            <p:cNvSpPr txBox="1"/>
            <p:nvPr/>
          </p:nvSpPr>
          <p:spPr>
            <a:xfrm>
              <a:off x="7506894" y="3186220"/>
              <a:ext cx="1459295" cy="38435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fr-FR" dirty="0">
                  <a:solidFill>
                    <a:schemeClr val="bg1">
                      <a:lumMod val="95000"/>
                    </a:schemeClr>
                  </a:solidFill>
                </a:rPr>
                <a:t>AVAL</a:t>
              </a:r>
            </a:p>
          </p:txBody>
        </p:sp>
      </p:grpSp>
      <p:grpSp>
        <p:nvGrpSpPr>
          <p:cNvPr id="22" name="Groupe 21"/>
          <p:cNvGrpSpPr>
            <a:grpSpLocks/>
          </p:cNvGrpSpPr>
          <p:nvPr/>
        </p:nvGrpSpPr>
        <p:grpSpPr bwMode="auto">
          <a:xfrm>
            <a:off x="3940175" y="2087563"/>
            <a:ext cx="1736725" cy="1735137"/>
            <a:chOff x="4000522" y="2359828"/>
            <a:chExt cx="1737316" cy="1733882"/>
          </a:xfrm>
        </p:grpSpPr>
        <p:sp>
          <p:nvSpPr>
            <p:cNvPr id="23" name="Flèche en arc 22"/>
            <p:cNvSpPr/>
            <p:nvPr/>
          </p:nvSpPr>
          <p:spPr>
            <a:xfrm>
              <a:off x="4000522" y="2359828"/>
              <a:ext cx="1627742" cy="1624424"/>
            </a:xfrm>
            <a:prstGeom prst="circularArrow">
              <a:avLst/>
            </a:prstGeom>
            <a:solidFill>
              <a:srgbClr val="00519E">
                <a:alpha val="70000"/>
              </a:srgbClr>
            </a:solidFill>
            <a:ln w="63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>
                <a:defRPr/>
              </a:pPr>
              <a:endParaRPr lang="fr-FR" sz="1800">
                <a:cs typeface="Arial" pitchFamily="34" charset="0"/>
              </a:endParaRPr>
            </a:p>
          </p:txBody>
        </p:sp>
        <p:grpSp>
          <p:nvGrpSpPr>
            <p:cNvPr id="24" name="Groupe 38"/>
            <p:cNvGrpSpPr>
              <a:grpSpLocks/>
            </p:cNvGrpSpPr>
            <p:nvPr/>
          </p:nvGrpSpPr>
          <p:grpSpPr bwMode="auto">
            <a:xfrm>
              <a:off x="4043199" y="2469626"/>
              <a:ext cx="1694639" cy="1624084"/>
              <a:chOff x="4043199" y="2469626"/>
              <a:chExt cx="1694639" cy="1624084"/>
            </a:xfrm>
          </p:grpSpPr>
          <p:sp>
            <p:nvSpPr>
              <p:cNvPr id="25" name="Flèche en arc 24"/>
              <p:cNvSpPr/>
              <p:nvPr/>
            </p:nvSpPr>
            <p:spPr>
              <a:xfrm rot="10985654">
                <a:off x="4043400" y="2469286"/>
                <a:ext cx="1583275" cy="1624424"/>
              </a:xfrm>
              <a:prstGeom prst="circularArrow">
                <a:avLst/>
              </a:prstGeom>
              <a:solidFill>
                <a:srgbClr val="00519E">
                  <a:alpha val="70000"/>
                </a:srgbClr>
              </a:solidFill>
              <a:ln w="6350" algn="ctr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400">
                  <a:defRPr/>
                </a:pPr>
                <a:endParaRPr lang="fr-FR" sz="1800">
                  <a:cs typeface="Arial" pitchFamily="34" charset="0"/>
                </a:endParaRPr>
              </a:p>
            </p:txBody>
          </p:sp>
          <p:sp>
            <p:nvSpPr>
              <p:cNvPr id="26" name="ZoneTexte 40"/>
              <p:cNvSpPr txBox="1">
                <a:spLocks noChangeArrowheads="1"/>
              </p:cNvSpPr>
              <p:nvPr/>
            </p:nvSpPr>
            <p:spPr bwMode="auto">
              <a:xfrm>
                <a:off x="4195641" y="3032446"/>
                <a:ext cx="1542197" cy="3847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5pPr>
                <a:lvl6pPr marL="2514600" indent="-228600" defTabSz="9509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6pPr>
                <a:lvl7pPr marL="2971800" indent="-228600" defTabSz="9509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7pPr>
                <a:lvl8pPr marL="3429000" indent="-228600" defTabSz="9509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8pPr>
                <a:lvl9pPr marL="3886200" indent="-228600" defTabSz="9509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/>
                  <a:t>INTERNE</a:t>
                </a:r>
              </a:p>
            </p:txBody>
          </p:sp>
        </p:grpSp>
      </p:grpSp>
      <p:sp>
        <p:nvSpPr>
          <p:cNvPr id="27" name="Rectangle à coins arrondis 26"/>
          <p:cNvSpPr/>
          <p:nvPr/>
        </p:nvSpPr>
        <p:spPr>
          <a:xfrm>
            <a:off x="1879600" y="4252913"/>
            <a:ext cx="5946775" cy="1982787"/>
          </a:xfrm>
          <a:prstGeom prst="roundRect">
            <a:avLst/>
          </a:prstGeom>
          <a:solidFill>
            <a:schemeClr val="tx1">
              <a:lumMod val="20000"/>
              <a:lumOff val="80000"/>
              <a:alpha val="82000"/>
            </a:schemeClr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>
              <a:defRPr/>
            </a:pPr>
            <a:r>
              <a:rPr lang="fr-FR" sz="1800" b="1" dirty="0">
                <a:cs typeface="Arial" pitchFamily="34" charset="0"/>
              </a:rPr>
              <a:t>WMS</a:t>
            </a:r>
            <a:r>
              <a:rPr lang="fr-FR" sz="1600" dirty="0">
                <a:cs typeface="Arial" pitchFamily="34" charset="0"/>
              </a:rPr>
              <a:t> + modules associés (FAST, TBO, suivi de production, CRC, Gamm’Accises, …)</a:t>
            </a:r>
          </a:p>
        </p:txBody>
      </p:sp>
      <p:cxnSp>
        <p:nvCxnSpPr>
          <p:cNvPr id="28" name="Connecteur droit 27"/>
          <p:cNvCxnSpPr/>
          <p:nvPr/>
        </p:nvCxnSpPr>
        <p:spPr>
          <a:xfrm flipV="1">
            <a:off x="1879600" y="4889500"/>
            <a:ext cx="5946775" cy="127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Flèche droite 28"/>
          <p:cNvSpPr/>
          <p:nvPr/>
        </p:nvSpPr>
        <p:spPr>
          <a:xfrm>
            <a:off x="193675" y="4802188"/>
            <a:ext cx="1470025" cy="671512"/>
          </a:xfrm>
          <a:prstGeom prst="rightArrow">
            <a:avLst/>
          </a:prstGeom>
          <a:solidFill>
            <a:schemeClr val="tx1">
              <a:lumMod val="20000"/>
              <a:lumOff val="80000"/>
              <a:alpha val="82000"/>
            </a:schemeClr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>
              <a:defRPr/>
            </a:pPr>
            <a:r>
              <a:rPr lang="fr-FR" sz="1800" dirty="0">
                <a:cs typeface="Arial" pitchFamily="34" charset="0"/>
              </a:rPr>
              <a:t>EDI</a:t>
            </a:r>
          </a:p>
        </p:txBody>
      </p:sp>
      <p:sp>
        <p:nvSpPr>
          <p:cNvPr id="30" name="Flèche droite 29"/>
          <p:cNvSpPr/>
          <p:nvPr/>
        </p:nvSpPr>
        <p:spPr>
          <a:xfrm>
            <a:off x="8001000" y="4802188"/>
            <a:ext cx="1470025" cy="671512"/>
          </a:xfrm>
          <a:prstGeom prst="rightArrow">
            <a:avLst/>
          </a:prstGeom>
          <a:solidFill>
            <a:schemeClr val="tx1">
              <a:lumMod val="20000"/>
              <a:lumOff val="80000"/>
              <a:alpha val="82000"/>
            </a:schemeClr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>
              <a:defRPr/>
            </a:pPr>
            <a:r>
              <a:rPr lang="fr-FR" sz="1800" dirty="0">
                <a:cs typeface="Arial" pitchFamily="34" charset="0"/>
              </a:rPr>
              <a:t>EDI</a:t>
            </a:r>
          </a:p>
        </p:txBody>
      </p:sp>
      <p:grpSp>
        <p:nvGrpSpPr>
          <p:cNvPr id="31" name="Groupe 30"/>
          <p:cNvGrpSpPr>
            <a:grpSpLocks/>
          </p:cNvGrpSpPr>
          <p:nvPr/>
        </p:nvGrpSpPr>
        <p:grpSpPr bwMode="auto">
          <a:xfrm>
            <a:off x="257175" y="1606550"/>
            <a:ext cx="9077325" cy="601663"/>
            <a:chOff x="382137" y="3098039"/>
            <a:chExt cx="2088108" cy="601184"/>
          </a:xfrm>
        </p:grpSpPr>
        <p:sp>
          <p:nvSpPr>
            <p:cNvPr id="32" name="Flèche droite rayée 31"/>
            <p:cNvSpPr/>
            <p:nvPr/>
          </p:nvSpPr>
          <p:spPr>
            <a:xfrm>
              <a:off x="382137" y="3098039"/>
              <a:ext cx="2088108" cy="601184"/>
            </a:xfrm>
            <a:prstGeom prst="stripedRightArrow">
              <a:avLst/>
            </a:prstGeom>
            <a:solidFill>
              <a:srgbClr val="00519E">
                <a:alpha val="70000"/>
              </a:srgbClr>
            </a:solidFill>
            <a:ln w="63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>
                <a:defRPr/>
              </a:pPr>
              <a:endParaRPr lang="fr-FR" sz="1800">
                <a:cs typeface="Arial" pitchFamily="34" charset="0"/>
              </a:endParaRP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695463" y="3212248"/>
              <a:ext cx="1487750" cy="38545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fr-FR" dirty="0">
                  <a:solidFill>
                    <a:schemeClr val="bg1">
                      <a:lumMod val="95000"/>
                    </a:schemeClr>
                  </a:solidFill>
                </a:rPr>
                <a:t>FLUX STOCKE </a:t>
              </a:r>
              <a:r>
                <a:rPr lang="fr-FR" sz="1600" dirty="0">
                  <a:solidFill>
                    <a:schemeClr val="bg1">
                      <a:lumMod val="95000"/>
                    </a:schemeClr>
                  </a:solidFill>
                </a:rPr>
                <a:t>ET/OU</a:t>
              </a:r>
              <a:r>
                <a:rPr lang="fr-FR" dirty="0">
                  <a:solidFill>
                    <a:schemeClr val="bg1">
                      <a:lumMod val="95000"/>
                    </a:schemeClr>
                  </a:solidFill>
                </a:rPr>
                <a:t> FLUX TENDU</a:t>
              </a:r>
            </a:p>
          </p:txBody>
        </p:sp>
      </p:grpSp>
      <p:sp>
        <p:nvSpPr>
          <p:cNvPr id="34" name="ZoneTexte 4"/>
          <p:cNvSpPr txBox="1">
            <a:spLocks noChangeArrowheads="1"/>
          </p:cNvSpPr>
          <p:nvPr/>
        </p:nvSpPr>
        <p:spPr bwMode="auto">
          <a:xfrm rot="19106388">
            <a:off x="1955800" y="5343525"/>
            <a:ext cx="990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Réception</a:t>
            </a:r>
          </a:p>
        </p:txBody>
      </p:sp>
      <p:sp>
        <p:nvSpPr>
          <p:cNvPr id="35" name="ZoneTexte 50"/>
          <p:cNvSpPr txBox="1">
            <a:spLocks noChangeArrowheads="1"/>
          </p:cNvSpPr>
          <p:nvPr/>
        </p:nvSpPr>
        <p:spPr bwMode="auto">
          <a:xfrm rot="19106388">
            <a:off x="2282825" y="5343525"/>
            <a:ext cx="15668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Ordonnancement</a:t>
            </a:r>
          </a:p>
        </p:txBody>
      </p:sp>
      <p:sp>
        <p:nvSpPr>
          <p:cNvPr id="36" name="ZoneTexte 51"/>
          <p:cNvSpPr txBox="1">
            <a:spLocks noChangeArrowheads="1"/>
          </p:cNvSpPr>
          <p:nvPr/>
        </p:nvSpPr>
        <p:spPr bwMode="auto">
          <a:xfrm rot="19106388">
            <a:off x="3148013" y="5235575"/>
            <a:ext cx="15335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Traçabilité des mouvements  </a:t>
            </a:r>
          </a:p>
        </p:txBody>
      </p:sp>
      <p:sp>
        <p:nvSpPr>
          <p:cNvPr id="37" name="ZoneTexte 52"/>
          <p:cNvSpPr txBox="1">
            <a:spLocks noChangeArrowheads="1"/>
          </p:cNvSpPr>
          <p:nvPr/>
        </p:nvSpPr>
        <p:spPr bwMode="auto">
          <a:xfrm rot="19106388">
            <a:off x="5495925" y="5343525"/>
            <a:ext cx="11096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Préparation</a:t>
            </a:r>
          </a:p>
        </p:txBody>
      </p:sp>
      <p:sp>
        <p:nvSpPr>
          <p:cNvPr id="38" name="ZoneTexte 53"/>
          <p:cNvSpPr txBox="1">
            <a:spLocks noChangeArrowheads="1"/>
          </p:cNvSpPr>
          <p:nvPr/>
        </p:nvSpPr>
        <p:spPr bwMode="auto">
          <a:xfrm rot="19106388">
            <a:off x="6157913" y="5343525"/>
            <a:ext cx="10223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Expédition</a:t>
            </a:r>
          </a:p>
        </p:txBody>
      </p:sp>
      <p:sp>
        <p:nvSpPr>
          <p:cNvPr id="39" name="ZoneTexte 54"/>
          <p:cNvSpPr txBox="1">
            <a:spLocks noChangeArrowheads="1"/>
          </p:cNvSpPr>
          <p:nvPr/>
        </p:nvSpPr>
        <p:spPr bwMode="auto">
          <a:xfrm rot="19106388">
            <a:off x="6732588" y="5343525"/>
            <a:ext cx="10795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Facturation</a:t>
            </a:r>
          </a:p>
        </p:txBody>
      </p:sp>
      <p:sp>
        <p:nvSpPr>
          <p:cNvPr id="40" name="ZoneTexte 55"/>
          <p:cNvSpPr txBox="1">
            <a:spLocks noChangeArrowheads="1"/>
          </p:cNvSpPr>
          <p:nvPr/>
        </p:nvSpPr>
        <p:spPr bwMode="auto">
          <a:xfrm rot="19106388">
            <a:off x="4335463" y="5381625"/>
            <a:ext cx="19256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Réapprovisionnement</a:t>
            </a:r>
          </a:p>
        </p:txBody>
      </p:sp>
      <p:sp>
        <p:nvSpPr>
          <p:cNvPr id="41" name="ZoneTexte 56"/>
          <p:cNvSpPr txBox="1">
            <a:spLocks noChangeArrowheads="1"/>
          </p:cNvSpPr>
          <p:nvPr/>
        </p:nvSpPr>
        <p:spPr bwMode="auto">
          <a:xfrm rot="19106388">
            <a:off x="4057650" y="5343525"/>
            <a:ext cx="10302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106" charset="-128"/>
              </a:defRPr>
            </a:lvl9pPr>
          </a:lstStyle>
          <a:p>
            <a:pPr algn="ctr" eaLnBrk="1" hangingPunct="1"/>
            <a:r>
              <a:rPr lang="fr-FR" sz="1400"/>
              <a:t>Copacking</a:t>
            </a:r>
          </a:p>
        </p:txBody>
      </p:sp>
      <p:grpSp>
        <p:nvGrpSpPr>
          <p:cNvPr id="42" name="Groupe 41"/>
          <p:cNvGrpSpPr>
            <a:grpSpLocks/>
          </p:cNvGrpSpPr>
          <p:nvPr/>
        </p:nvGrpSpPr>
        <p:grpSpPr bwMode="auto">
          <a:xfrm>
            <a:off x="358775" y="6289675"/>
            <a:ext cx="3395663" cy="601663"/>
            <a:chOff x="382137" y="3098039"/>
            <a:chExt cx="2088108" cy="601184"/>
          </a:xfrm>
        </p:grpSpPr>
        <p:sp>
          <p:nvSpPr>
            <p:cNvPr id="43" name="Flèche droite rayée 42"/>
            <p:cNvSpPr/>
            <p:nvPr/>
          </p:nvSpPr>
          <p:spPr>
            <a:xfrm>
              <a:off x="382137" y="3098039"/>
              <a:ext cx="2088108" cy="601184"/>
            </a:xfrm>
            <a:prstGeom prst="stripedRightArrow">
              <a:avLst/>
            </a:prstGeom>
            <a:solidFill>
              <a:srgbClr val="00519E">
                <a:alpha val="70000"/>
              </a:srgbClr>
            </a:solidFill>
            <a:ln w="63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>
                <a:defRPr/>
              </a:pPr>
              <a:endParaRPr lang="fr-FR" sz="1800">
                <a:cs typeface="Arial" pitchFamily="34" charset="0"/>
              </a:endParaRPr>
            </a:p>
          </p:txBody>
        </p:sp>
        <p:sp>
          <p:nvSpPr>
            <p:cNvPr id="44" name="ZoneTexte 43"/>
            <p:cNvSpPr txBox="1"/>
            <p:nvPr/>
          </p:nvSpPr>
          <p:spPr>
            <a:xfrm>
              <a:off x="880003" y="3212248"/>
              <a:ext cx="1487740" cy="38545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fr-FR" dirty="0">
                  <a:solidFill>
                    <a:schemeClr val="bg1">
                      <a:lumMod val="95000"/>
                    </a:schemeClr>
                  </a:solidFill>
                </a:rPr>
                <a:t>Flux physiques</a:t>
              </a:r>
            </a:p>
          </p:txBody>
        </p:sp>
      </p:grpSp>
      <p:sp>
        <p:nvSpPr>
          <p:cNvPr id="45" name="Flèche droite 44"/>
          <p:cNvSpPr/>
          <p:nvPr/>
        </p:nvSpPr>
        <p:spPr>
          <a:xfrm>
            <a:off x="5534025" y="6261100"/>
            <a:ext cx="3597275" cy="671513"/>
          </a:xfrm>
          <a:prstGeom prst="rightArrow">
            <a:avLst/>
          </a:prstGeom>
          <a:solidFill>
            <a:schemeClr val="tx1">
              <a:lumMod val="20000"/>
              <a:lumOff val="80000"/>
              <a:alpha val="82000"/>
            </a:schemeClr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>
              <a:defRPr/>
            </a:pPr>
            <a:r>
              <a:rPr lang="fr-FR" sz="1800" dirty="0">
                <a:cs typeface="Arial" pitchFamily="34" charset="0"/>
              </a:rPr>
              <a:t>Flux informatiques</a:t>
            </a:r>
          </a:p>
        </p:txBody>
      </p:sp>
    </p:spTree>
    <p:extLst>
      <p:ext uri="{BB962C8B-B14F-4D97-AF65-F5344CB8AC3E}">
        <p14:creationId xmlns:p14="http://schemas.microsoft.com/office/powerpoint/2010/main" val="240719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3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7"/>
          <p:cNvSpPr txBox="1">
            <a:spLocks/>
          </p:cNvSpPr>
          <p:nvPr/>
        </p:nvSpPr>
        <p:spPr bwMode="auto">
          <a:xfrm>
            <a:off x="5779195" y="2814185"/>
            <a:ext cx="2613025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>
            <a:lvl1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 Narrow" charset="0"/>
                <a:ea typeface="ＭＳ Ｐゴシック" charset="0"/>
                <a:cs typeface="+mj-cs"/>
              </a:defRPr>
            </a:lvl1pPr>
            <a:lvl2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2pPr>
            <a:lvl3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3pPr>
            <a:lvl4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4pPr>
            <a:lvl5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5pPr>
            <a:lvl6pPr marL="4572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6pPr>
            <a:lvl7pPr marL="9144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7pPr>
            <a:lvl8pPr marL="13716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8pPr>
            <a:lvl9pPr marL="18288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2300" dirty="0" smtClean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7" name="Rectangle 18"/>
          <p:cNvSpPr txBox="1">
            <a:spLocks noChangeArrowheads="1"/>
          </p:cNvSpPr>
          <p:nvPr/>
        </p:nvSpPr>
        <p:spPr bwMode="auto">
          <a:xfrm>
            <a:off x="5779195" y="4575222"/>
            <a:ext cx="3195638" cy="882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7530" tIns="48765" rIns="97530" bIns="48765" numCol="1" anchor="b" anchorCtr="0" compatLnSpc="1">
            <a:prstTxWarp prst="textNoShape">
              <a:avLst/>
            </a:prstTxWarp>
          </a:bodyPr>
          <a:lstStyle>
            <a:lvl1pPr marL="0" indent="0" algn="l" defTabSz="974725" rtl="0" eaLnBrk="0" fontAlgn="base" hangingPunct="0">
              <a:spcBef>
                <a:spcPts val="1200"/>
              </a:spcBef>
              <a:spcAft>
                <a:spcPct val="0"/>
              </a:spcAft>
              <a:buFontTx/>
              <a:buNone/>
              <a:defRPr lang="fr-FR" sz="1600" kern="1200">
                <a:solidFill>
                  <a:schemeClr val="tx2"/>
                </a:solidFill>
                <a:latin typeface="Arial Narrow" charset="0"/>
                <a:ea typeface="ＭＳ Ｐゴシック" charset="0"/>
                <a:cs typeface="+mn-cs"/>
              </a:defRPr>
            </a:lvl1pPr>
            <a:lvl2pPr marL="792163" indent="-303213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20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2pPr>
            <a:lvl3pPr marL="121761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3pPr>
            <a:lvl4pPr marL="170656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4pPr>
            <a:lvl5pPr marL="2193925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5pPr>
            <a:lvl6pPr marL="268207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6972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37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02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r>
              <a:rPr lang="fr-FR" sz="3400" b="1" dirty="0" smtClean="0">
                <a:solidFill>
                  <a:srgbClr val="00519E"/>
                </a:solidFill>
                <a:ea typeface="+mn-ea"/>
              </a:rPr>
              <a:t>SI Logistique</a:t>
            </a:r>
            <a:endParaRPr lang="fr-FR" sz="3400" b="1" dirty="0">
              <a:solidFill>
                <a:srgbClr val="00519E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60602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Une longue histoire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Espace réservé du numéro de diapositive 7"/>
          <p:cNvSpPr>
            <a:spLocks noGrp="1"/>
          </p:cNvSpPr>
          <p:nvPr>
            <p:ph type="sldNum" sz="quarter" idx="12"/>
          </p:nvPr>
        </p:nvSpPr>
        <p:spPr bwMode="auto">
          <a:xfrm>
            <a:off x="9015413" y="7040563"/>
            <a:ext cx="720725" cy="228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/>
            <a:fld id="{65D0DA77-84E6-4731-BE2D-A7E7EA9191A3}" type="slidenum">
              <a:rPr lang="fr-FR" sz="900">
                <a:solidFill>
                  <a:srgbClr val="9B9B9B"/>
                </a:solidFill>
              </a:rPr>
              <a:pPr eaLnBrk="1" hangingPunct="1"/>
              <a:t>15</a:t>
            </a:fld>
            <a:endParaRPr lang="fr-FR" sz="900">
              <a:solidFill>
                <a:srgbClr val="9B9B9B"/>
              </a:solidFill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135577" y="1475058"/>
            <a:ext cx="9316190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914400" lvl="2" indent="0">
              <a:defRPr/>
            </a:pPr>
            <a:endParaRPr lang="fr-FR" sz="1350" dirty="0">
              <a:solidFill>
                <a:srgbClr val="00B0F0"/>
              </a:solidFill>
            </a:endParaRPr>
          </a:p>
        </p:txBody>
      </p:sp>
      <p:sp>
        <p:nvSpPr>
          <p:cNvPr id="14" name="Espace réservé du numéro de diapositive 7"/>
          <p:cNvSpPr txBox="1">
            <a:spLocks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 algn="ctr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1pPr>
            <a:lvl2pPr marL="742950" indent="-28575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2pPr>
            <a:lvl3pPr marL="11430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3pPr>
            <a:lvl4pPr marL="16002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4pPr>
            <a:lvl5pPr marL="20574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5pPr>
            <a:lvl6pPr marL="25146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6pPr>
            <a:lvl7pPr marL="29718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7pPr>
            <a:lvl8pPr marL="34290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8pPr>
            <a:lvl9pPr marL="38862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9pPr>
          </a:lstStyle>
          <a:p>
            <a:pPr eaLnBrk="1" hangingPunct="1"/>
            <a:fld id="{65D0DA77-84E6-4731-BE2D-A7E7EA9191A3}" type="slidenum">
              <a:rPr lang="fr-FR" sz="900" smtClean="0">
                <a:solidFill>
                  <a:srgbClr val="9B9B9B"/>
                </a:solidFill>
              </a:rPr>
              <a:pPr eaLnBrk="1" hangingPunct="1"/>
              <a:t>15</a:t>
            </a:fld>
            <a:endParaRPr lang="fr-FR" sz="900">
              <a:solidFill>
                <a:srgbClr val="9B9B9B"/>
              </a:solidFill>
            </a:endParaRPr>
          </a:p>
        </p:txBody>
      </p: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318608" y="1421210"/>
            <a:ext cx="9133159" cy="707860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ctr" defTabSz="914400" eaLnBrk="1" hangingPunct="1">
              <a:spcBef>
                <a:spcPct val="50000"/>
              </a:spcBef>
            </a:pPr>
            <a:r>
              <a:rPr lang="en-US" sz="2000" b="1" dirty="0" smtClean="0">
                <a:solidFill>
                  <a:schemeClr val="tx2"/>
                </a:solidFill>
              </a:rPr>
              <a:t>Un SI </a:t>
            </a:r>
            <a:r>
              <a:rPr lang="en-US" sz="2000" b="1" dirty="0" err="1" smtClean="0">
                <a:solidFill>
                  <a:schemeClr val="tx2"/>
                </a:solidFill>
              </a:rPr>
              <a:t>logistique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issu</a:t>
            </a:r>
            <a:r>
              <a:rPr lang="en-US" sz="2000" b="1" dirty="0" smtClean="0">
                <a:solidFill>
                  <a:schemeClr val="tx2"/>
                </a:solidFill>
              </a:rPr>
              <a:t> de 20 </a:t>
            </a:r>
            <a:r>
              <a:rPr lang="en-US" sz="2000" b="1" dirty="0" err="1" smtClean="0">
                <a:solidFill>
                  <a:schemeClr val="tx2"/>
                </a:solidFill>
              </a:rPr>
              <a:t>ans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d’évolutions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accompagnant</a:t>
            </a:r>
            <a:r>
              <a:rPr lang="en-US" sz="2000" b="1" dirty="0" smtClean="0">
                <a:solidFill>
                  <a:schemeClr val="tx2"/>
                </a:solidFill>
              </a:rPr>
              <a:t> le </a:t>
            </a:r>
            <a:r>
              <a:rPr lang="en-US" sz="2000" b="1" dirty="0" err="1" smtClean="0">
                <a:solidFill>
                  <a:schemeClr val="tx2"/>
                </a:solidFill>
              </a:rPr>
              <a:t>Groupe</a:t>
            </a:r>
            <a:r>
              <a:rPr lang="en-US" sz="2000" b="1" dirty="0" smtClean="0">
                <a:solidFill>
                  <a:schemeClr val="tx2"/>
                </a:solidFill>
              </a:rPr>
              <a:t> STEF </a:t>
            </a:r>
            <a:r>
              <a:rPr lang="en-US" sz="2000" b="1" dirty="0" err="1" smtClean="0">
                <a:solidFill>
                  <a:schemeClr val="tx2"/>
                </a:solidFill>
              </a:rPr>
              <a:t>dans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sa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propre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évolution</a:t>
            </a:r>
            <a:endParaRPr lang="en-US" sz="2000" dirty="0">
              <a:solidFill>
                <a:schemeClr val="tx2"/>
              </a:solidFill>
            </a:endParaRPr>
          </a:p>
        </p:txBody>
      </p:sp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2005" y="2190154"/>
            <a:ext cx="6309584" cy="482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Box 2"/>
          <p:cNvSpPr txBox="1">
            <a:spLocks noChangeArrowheads="1"/>
          </p:cNvSpPr>
          <p:nvPr/>
        </p:nvSpPr>
        <p:spPr bwMode="auto">
          <a:xfrm>
            <a:off x="318608" y="3075968"/>
            <a:ext cx="9133159" cy="3323961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</a:rPr>
              <a:t>La phase de </a:t>
            </a:r>
            <a:r>
              <a:rPr lang="en-US" sz="2000" b="1" dirty="0" err="1" smtClean="0">
                <a:solidFill>
                  <a:schemeClr val="tx2"/>
                </a:solidFill>
              </a:rPr>
              <a:t>rationnalisation</a:t>
            </a:r>
            <a:r>
              <a:rPr lang="en-US" sz="2000" b="1" dirty="0" smtClean="0">
                <a:solidFill>
                  <a:schemeClr val="tx2"/>
                </a:solidFill>
              </a:rPr>
              <a:t> des </a:t>
            </a:r>
            <a:r>
              <a:rPr lang="en-US" sz="2000" b="1" dirty="0" err="1" smtClean="0">
                <a:solidFill>
                  <a:schemeClr val="tx2"/>
                </a:solidFill>
              </a:rPr>
              <a:t>outils</a:t>
            </a:r>
            <a:r>
              <a:rPr lang="en-US" sz="2000" b="1" dirty="0" smtClean="0">
                <a:solidFill>
                  <a:schemeClr val="tx2"/>
                </a:solidFill>
              </a:rPr>
              <a:t> et des versions </a:t>
            </a:r>
            <a:r>
              <a:rPr lang="en-US" sz="2000" b="1" dirty="0" err="1" smtClean="0">
                <a:solidFill>
                  <a:schemeClr val="tx2"/>
                </a:solidFill>
              </a:rPr>
              <a:t>laisse</a:t>
            </a:r>
            <a:r>
              <a:rPr lang="en-US" sz="2000" b="1" dirty="0" smtClean="0">
                <a:solidFill>
                  <a:schemeClr val="tx2"/>
                </a:solidFill>
              </a:rPr>
              <a:t> place à </a:t>
            </a:r>
            <a:r>
              <a:rPr lang="en-US" sz="2000" b="1" dirty="0" err="1" smtClean="0">
                <a:solidFill>
                  <a:schemeClr val="tx2"/>
                </a:solidFill>
              </a:rPr>
              <a:t>une</a:t>
            </a:r>
            <a:r>
              <a:rPr lang="en-US" sz="2000" b="1" dirty="0" smtClean="0">
                <a:solidFill>
                  <a:schemeClr val="tx2"/>
                </a:solidFill>
              </a:rPr>
              <a:t> nouvelle phase de </a:t>
            </a:r>
            <a:r>
              <a:rPr lang="en-US" sz="2000" b="1" dirty="0" err="1" smtClean="0">
                <a:solidFill>
                  <a:schemeClr val="tx2"/>
                </a:solidFill>
              </a:rPr>
              <a:t>rationnalisation</a:t>
            </a:r>
            <a:r>
              <a:rPr lang="en-US" sz="2000" b="1" dirty="0" smtClean="0">
                <a:solidFill>
                  <a:schemeClr val="tx2"/>
                </a:solidFill>
              </a:rPr>
              <a:t> des </a:t>
            </a:r>
            <a:r>
              <a:rPr lang="en-US" sz="2000" b="1" dirty="0" err="1" smtClean="0">
                <a:solidFill>
                  <a:schemeClr val="tx2"/>
                </a:solidFill>
              </a:rPr>
              <a:t>fonctionnalités</a:t>
            </a:r>
            <a:endParaRPr lang="en-US" sz="2000" b="1" dirty="0" smtClean="0">
              <a:solidFill>
                <a:schemeClr val="tx2"/>
              </a:solidFill>
            </a:endParaRPr>
          </a:p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err="1" smtClean="0">
                <a:solidFill>
                  <a:schemeClr val="tx2"/>
                </a:solidFill>
              </a:rPr>
              <a:t>Cette</a:t>
            </a:r>
            <a:r>
              <a:rPr lang="en-US" sz="2000" b="1" dirty="0" smtClean="0">
                <a:solidFill>
                  <a:schemeClr val="tx2"/>
                </a:solidFill>
              </a:rPr>
              <a:t> phase </a:t>
            </a:r>
            <a:r>
              <a:rPr lang="en-US" sz="2000" b="1" dirty="0" err="1" smtClean="0">
                <a:solidFill>
                  <a:schemeClr val="tx2"/>
                </a:solidFill>
              </a:rPr>
              <a:t>doit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s’appuyer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sur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une</a:t>
            </a:r>
            <a:r>
              <a:rPr lang="en-US" sz="2000" b="1" dirty="0" smtClean="0">
                <a:solidFill>
                  <a:schemeClr val="tx2"/>
                </a:solidFill>
              </a:rPr>
              <a:t> revue de </a:t>
            </a:r>
            <a:r>
              <a:rPr lang="en-US" sz="2000" b="1" dirty="0" err="1" smtClean="0">
                <a:solidFill>
                  <a:schemeClr val="tx2"/>
                </a:solidFill>
              </a:rPr>
              <a:t>l’architecture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afin</a:t>
            </a:r>
            <a:r>
              <a:rPr lang="en-US" sz="2000" b="1" dirty="0" smtClean="0">
                <a:solidFill>
                  <a:schemeClr val="tx2"/>
                </a:solidFill>
              </a:rPr>
              <a:t> de </a:t>
            </a:r>
            <a:r>
              <a:rPr lang="en-US" sz="2000" b="1" dirty="0" err="1" smtClean="0">
                <a:solidFill>
                  <a:schemeClr val="tx2"/>
                </a:solidFill>
              </a:rPr>
              <a:t>mettre</a:t>
            </a:r>
            <a:r>
              <a:rPr lang="en-US" sz="2000" b="1" dirty="0" smtClean="0">
                <a:solidFill>
                  <a:schemeClr val="tx2"/>
                </a:solidFill>
              </a:rPr>
              <a:t> à disposition du </a:t>
            </a:r>
            <a:r>
              <a:rPr lang="en-US" sz="2000" b="1" dirty="0" err="1" smtClean="0">
                <a:solidFill>
                  <a:schemeClr val="tx2"/>
                </a:solidFill>
              </a:rPr>
              <a:t>groupe</a:t>
            </a:r>
            <a:r>
              <a:rPr lang="en-US" sz="2000" b="1" dirty="0" smtClean="0">
                <a:solidFill>
                  <a:schemeClr val="tx2"/>
                </a:solidFill>
              </a:rPr>
              <a:t> STEF, un </a:t>
            </a:r>
            <a:r>
              <a:rPr lang="en-US" sz="2000" b="1" dirty="0" err="1" smtClean="0">
                <a:solidFill>
                  <a:schemeClr val="tx2"/>
                </a:solidFill>
              </a:rPr>
              <a:t>outil</a:t>
            </a:r>
            <a:r>
              <a:rPr lang="en-US" sz="2000" b="1" dirty="0" smtClean="0">
                <a:solidFill>
                  <a:schemeClr val="tx2"/>
                </a:solidFill>
              </a:rPr>
              <a:t> :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dirty="0" err="1" smtClean="0">
                <a:solidFill>
                  <a:schemeClr val="tx2"/>
                </a:solidFill>
              </a:rPr>
              <a:t>Répondant</a:t>
            </a:r>
            <a:r>
              <a:rPr lang="en-US" sz="2000" dirty="0" smtClean="0">
                <a:solidFill>
                  <a:schemeClr val="tx2"/>
                </a:solidFill>
              </a:rPr>
              <a:t> aux </a:t>
            </a:r>
            <a:r>
              <a:rPr lang="en-US" sz="2000" dirty="0" err="1" smtClean="0">
                <a:solidFill>
                  <a:schemeClr val="tx2"/>
                </a:solidFill>
              </a:rPr>
              <a:t>attentes</a:t>
            </a:r>
            <a:r>
              <a:rPr lang="en-US" sz="2000" dirty="0" smtClean="0">
                <a:solidFill>
                  <a:schemeClr val="tx2"/>
                </a:solidFill>
              </a:rPr>
              <a:t> de </a:t>
            </a:r>
            <a:r>
              <a:rPr lang="en-US" sz="2000" dirty="0" err="1" smtClean="0">
                <a:solidFill>
                  <a:schemeClr val="tx2"/>
                </a:solidFill>
              </a:rPr>
              <a:t>ses</a:t>
            </a:r>
            <a:r>
              <a:rPr lang="en-US" sz="2000" dirty="0" smtClean="0">
                <a:solidFill>
                  <a:schemeClr val="tx2"/>
                </a:solidFill>
              </a:rPr>
              <a:t> exploitations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</a:rPr>
              <a:t>Plus </a:t>
            </a:r>
            <a:r>
              <a:rPr lang="en-US" sz="2000" dirty="0" err="1" smtClean="0">
                <a:solidFill>
                  <a:schemeClr val="tx2"/>
                </a:solidFill>
              </a:rPr>
              <a:t>évolutif</a:t>
            </a:r>
            <a:endParaRPr lang="en-US" sz="2000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</a:rPr>
              <a:t>Plus simple à </a:t>
            </a:r>
            <a:r>
              <a:rPr lang="en-US" sz="2000" dirty="0" err="1" smtClean="0">
                <a:solidFill>
                  <a:schemeClr val="tx2"/>
                </a:solidFill>
              </a:rPr>
              <a:t>maintenir</a:t>
            </a:r>
            <a:endParaRPr lang="en-US" sz="2000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dirty="0" err="1" smtClean="0">
                <a:solidFill>
                  <a:schemeClr val="tx2"/>
                </a:solidFill>
              </a:rPr>
              <a:t>Décloisonné</a:t>
            </a:r>
            <a:r>
              <a:rPr lang="en-US" sz="2000" dirty="0" smtClean="0">
                <a:solidFill>
                  <a:schemeClr val="tx2"/>
                </a:solidFill>
              </a:rPr>
              <a:t> par rapport aux </a:t>
            </a:r>
            <a:r>
              <a:rPr lang="en-US" sz="2000" dirty="0" err="1" smtClean="0">
                <a:solidFill>
                  <a:schemeClr val="tx2"/>
                </a:solidFill>
              </a:rPr>
              <a:t>autres</a:t>
            </a:r>
            <a:r>
              <a:rPr lang="en-US" sz="2000" dirty="0" smtClean="0">
                <a:solidFill>
                  <a:schemeClr val="tx2"/>
                </a:solidFill>
              </a:rPr>
              <a:t> SI du </a:t>
            </a:r>
            <a:r>
              <a:rPr lang="en-US" sz="2000" dirty="0" err="1" smtClean="0">
                <a:solidFill>
                  <a:schemeClr val="tx2"/>
                </a:solidFill>
              </a:rPr>
              <a:t>groupe</a:t>
            </a:r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442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8411E-6 -2.77778E-7 L -0.00114 -0.12348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" y="-618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55000" y="15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Une technologie Oracle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Espace réservé du numéro de diapositive 7"/>
          <p:cNvSpPr txBox="1">
            <a:spLocks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 algn="ctr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1pPr>
            <a:lvl2pPr marL="742950" indent="-28575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2pPr>
            <a:lvl3pPr marL="11430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3pPr>
            <a:lvl4pPr marL="16002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4pPr>
            <a:lvl5pPr marL="20574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5pPr>
            <a:lvl6pPr marL="25146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6pPr>
            <a:lvl7pPr marL="29718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7pPr>
            <a:lvl8pPr marL="34290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8pPr>
            <a:lvl9pPr marL="38862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9pPr>
          </a:lstStyle>
          <a:p>
            <a:pPr eaLnBrk="1" hangingPunct="1"/>
            <a:fld id="{65D0DA77-84E6-4731-BE2D-A7E7EA9191A3}" type="slidenum">
              <a:rPr lang="fr-FR" sz="900" smtClean="0">
                <a:solidFill>
                  <a:srgbClr val="9B9B9B"/>
                </a:solidFill>
              </a:rPr>
              <a:pPr eaLnBrk="1" hangingPunct="1"/>
              <a:t>16</a:t>
            </a:fld>
            <a:endParaRPr lang="fr-FR" sz="900">
              <a:solidFill>
                <a:srgbClr val="9B9B9B"/>
              </a:solidFill>
            </a:endParaRPr>
          </a:p>
        </p:txBody>
      </p: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318608" y="1406339"/>
            <a:ext cx="9133159" cy="2246743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</a:rPr>
              <a:t>WMS </a:t>
            </a:r>
            <a:r>
              <a:rPr lang="fr-FR" sz="2000" b="1" dirty="0" smtClean="0">
                <a:solidFill>
                  <a:schemeClr val="tx2"/>
                </a:solidFill>
              </a:rPr>
              <a:t>Agrostar développé avec les outils </a:t>
            </a:r>
            <a:r>
              <a:rPr lang="en-US" sz="2000" b="1" dirty="0" smtClean="0">
                <a:solidFill>
                  <a:schemeClr val="tx2"/>
                </a:solidFill>
              </a:rPr>
              <a:t>Oracle Developer Suite :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</a:rPr>
              <a:t>IHM : Oracle Forms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</a:rPr>
              <a:t>Editions : Oracle Report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Traitements</a:t>
            </a:r>
            <a:r>
              <a:rPr lang="en-US" sz="2000" b="1" dirty="0" smtClean="0">
                <a:solidFill>
                  <a:schemeClr val="tx2"/>
                </a:solidFill>
              </a:rPr>
              <a:t> : </a:t>
            </a:r>
            <a:r>
              <a:rPr lang="fr-FR" sz="2000" b="1" dirty="0" smtClean="0">
                <a:solidFill>
                  <a:schemeClr val="tx2"/>
                </a:solidFill>
              </a:rPr>
              <a:t>Langage</a:t>
            </a:r>
            <a:r>
              <a:rPr lang="en-US" sz="2000" b="1" dirty="0" smtClean="0">
                <a:solidFill>
                  <a:schemeClr val="tx2"/>
                </a:solidFill>
              </a:rPr>
              <a:t> PL/SQL</a:t>
            </a:r>
            <a:endParaRPr lang="en-US" sz="2000" dirty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en-US" sz="2000" b="1" dirty="0">
              <a:solidFill>
                <a:schemeClr val="tx2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363" y="2149293"/>
            <a:ext cx="1838325" cy="790575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612" y="4020363"/>
            <a:ext cx="1831624" cy="1831624"/>
          </a:xfrm>
          <a:prstGeom prst="rect">
            <a:avLst/>
          </a:prstGeom>
        </p:spPr>
      </p:pic>
      <p:sp>
        <p:nvSpPr>
          <p:cNvPr id="18" name="Text Box 2"/>
          <p:cNvSpPr txBox="1">
            <a:spLocks noChangeArrowheads="1"/>
          </p:cNvSpPr>
          <p:nvPr/>
        </p:nvSpPr>
        <p:spPr bwMode="auto">
          <a:xfrm>
            <a:off x="242616" y="3519880"/>
            <a:ext cx="9133159" cy="2554519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Depuis 2 ans, deux nouvelles technologies émergent au sein des différents SI du groupe :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Plateforme SOA de la suite Oracle Fusion </a:t>
            </a:r>
            <a:r>
              <a:rPr lang="fr-FR" sz="2000" b="1" dirty="0" err="1" smtClean="0">
                <a:solidFill>
                  <a:schemeClr val="tx2"/>
                </a:solidFill>
              </a:rPr>
              <a:t>MiddleWare</a:t>
            </a:r>
            <a:endParaRPr lang="fr-FR" sz="2000" b="1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fr-FR" sz="2000" b="1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Langage Java (GWT) pour certains modules WEB</a:t>
            </a:r>
            <a:endParaRPr lang="en-US" sz="2000" dirty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en-US" sz="2000" b="1" dirty="0">
              <a:solidFill>
                <a:schemeClr val="tx2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363" y="5603051"/>
            <a:ext cx="1838325" cy="105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278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Une architecture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Espace réservé du numéro de diapositive 7"/>
          <p:cNvSpPr txBox="1">
            <a:spLocks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 algn="ctr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1pPr>
            <a:lvl2pPr marL="742950" indent="-28575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2pPr>
            <a:lvl3pPr marL="11430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3pPr>
            <a:lvl4pPr marL="16002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4pPr>
            <a:lvl5pPr marL="2057400" indent="-228600"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5pPr>
            <a:lvl6pPr marL="25146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6pPr>
            <a:lvl7pPr marL="29718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7pPr>
            <a:lvl8pPr marL="34290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8pPr>
            <a:lvl9pPr marL="3886200" indent="-228600" algn="l" defTabSz="9747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ＭＳ Ｐゴシック" pitchFamily="-106" charset="-128"/>
                <a:cs typeface="+mn-cs"/>
              </a:defRPr>
            </a:lvl9pPr>
          </a:lstStyle>
          <a:p>
            <a:pPr eaLnBrk="1" hangingPunct="1"/>
            <a:fld id="{65D0DA77-84E6-4731-BE2D-A7E7EA9191A3}" type="slidenum">
              <a:rPr lang="fr-FR" sz="900" smtClean="0">
                <a:solidFill>
                  <a:srgbClr val="9B9B9B"/>
                </a:solidFill>
              </a:rPr>
              <a:pPr eaLnBrk="1" hangingPunct="1"/>
              <a:t>17</a:t>
            </a:fld>
            <a:endParaRPr lang="fr-FR" sz="900">
              <a:solidFill>
                <a:srgbClr val="9B9B9B"/>
              </a:solidFill>
            </a:endParaRPr>
          </a:p>
        </p:txBody>
      </p: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318608" y="1406339"/>
            <a:ext cx="9133159" cy="1169525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</a:rPr>
              <a:t>WMS </a:t>
            </a:r>
            <a:r>
              <a:rPr lang="fr-FR" sz="2000" b="1" dirty="0" smtClean="0">
                <a:solidFill>
                  <a:schemeClr val="tx2"/>
                </a:solidFill>
              </a:rPr>
              <a:t>Agrostar utilise des packages PL/SQL exécutés derrière des boutons ou des moments.</a:t>
            </a:r>
            <a:endParaRPr lang="en-US" sz="2000" b="1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en-US" sz="2000" b="1" dirty="0">
              <a:solidFill>
                <a:schemeClr val="tx2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54"/>
          <a:stretch/>
        </p:blipFill>
        <p:spPr bwMode="auto">
          <a:xfrm>
            <a:off x="411490" y="2232562"/>
            <a:ext cx="6925304" cy="457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Flèche droite à entaille 15"/>
          <p:cNvSpPr/>
          <p:nvPr/>
        </p:nvSpPr>
        <p:spPr>
          <a:xfrm rot="16200000">
            <a:off x="5588876" y="7548503"/>
            <a:ext cx="586065" cy="296883"/>
          </a:xfrm>
          <a:prstGeom prst="notchedRightArrow">
            <a:avLst/>
          </a:prstGeom>
          <a:solidFill>
            <a:srgbClr val="00519E"/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  <a:scene3d>
            <a:camera prst="orthographicFront"/>
            <a:lightRig rig="flood" dir="t">
              <a:rot lat="0" lon="0" rev="3000000"/>
            </a:lightRig>
          </a:scene3d>
          <a:sp3d extrusionH="19050" contourW="19050" prstMaterial="dkEdge">
            <a:bevelT prst="cross"/>
            <a:bevelB prst="relaxedInset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54"/>
          <a:stretch/>
        </p:blipFill>
        <p:spPr bwMode="auto">
          <a:xfrm>
            <a:off x="2842161" y="2126931"/>
            <a:ext cx="6705600" cy="442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54"/>
          <a:stretch/>
        </p:blipFill>
        <p:spPr bwMode="auto">
          <a:xfrm>
            <a:off x="429093" y="2232562"/>
            <a:ext cx="6890098" cy="4547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Flèche droite à entaille 18"/>
          <p:cNvSpPr/>
          <p:nvPr/>
        </p:nvSpPr>
        <p:spPr>
          <a:xfrm>
            <a:off x="-1193913" y="2492739"/>
            <a:ext cx="586065" cy="296883"/>
          </a:xfrm>
          <a:prstGeom prst="notchedRightArrow">
            <a:avLst/>
          </a:prstGeom>
          <a:solidFill>
            <a:srgbClr val="00519E"/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  <a:scene3d>
            <a:camera prst="orthographicFront"/>
            <a:lightRig rig="flood" dir="t">
              <a:rot lat="0" lon="0" rev="3000000"/>
            </a:lightRig>
          </a:scene3d>
          <a:sp3d extrusionH="19050" contourW="19050" prstMaterial="dkEdge">
            <a:bevelT prst="cross"/>
            <a:bevelB prst="relaxedInset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54"/>
          <a:stretch/>
        </p:blipFill>
        <p:spPr bwMode="auto">
          <a:xfrm>
            <a:off x="3195975" y="2095995"/>
            <a:ext cx="6351786" cy="4456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2556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0563E-6 -3.33333E-6 L -3.70563E-6 -0.1332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323E-6 -4.09722E-6 L 0.15598 -0.00173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799" y="-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Un Système d’abonnement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117424" y="1406339"/>
            <a:ext cx="9632966" cy="861748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L’exécution est conditionnée par un système d’abonnement : </a:t>
            </a:r>
            <a:r>
              <a:rPr lang="fr-FR" sz="2000" b="1" dirty="0" err="1" smtClean="0">
                <a:solidFill>
                  <a:schemeClr val="tx2"/>
                </a:solidFill>
              </a:rPr>
              <a:t>WMSConfig</a:t>
            </a:r>
            <a:endParaRPr lang="en-US" sz="2000" b="1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en-US" sz="2000" b="1" dirty="0">
              <a:solidFill>
                <a:schemeClr val="tx2"/>
              </a:solidFill>
            </a:endParaRPr>
          </a:p>
        </p:txBody>
      </p:sp>
      <p:pic>
        <p:nvPicPr>
          <p:cNvPr id="17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54"/>
          <a:stretch/>
        </p:blipFill>
        <p:spPr bwMode="auto">
          <a:xfrm>
            <a:off x="1268828" y="1929740"/>
            <a:ext cx="7232717" cy="5074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llipse 1"/>
          <p:cNvSpPr/>
          <p:nvPr/>
        </p:nvSpPr>
        <p:spPr>
          <a:xfrm>
            <a:off x="2410691" y="4561987"/>
            <a:ext cx="5225143" cy="436589"/>
          </a:xfrm>
          <a:prstGeom prst="ellips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2410691" y="5403159"/>
            <a:ext cx="5391397" cy="436589"/>
          </a:xfrm>
          <a:prstGeom prst="ellips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Connecteur droit avec flèche 3"/>
          <p:cNvCxnSpPr/>
          <p:nvPr/>
        </p:nvCxnSpPr>
        <p:spPr>
          <a:xfrm flipV="1">
            <a:off x="831273" y="2600696"/>
            <a:ext cx="700644" cy="973777"/>
          </a:xfrm>
          <a:prstGeom prst="straightConnector1">
            <a:avLst/>
          </a:prstGeom>
          <a:ln w="158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/>
          <p:nvPr/>
        </p:nvCxnSpPr>
        <p:spPr>
          <a:xfrm flipV="1">
            <a:off x="1009403" y="2600697"/>
            <a:ext cx="1223158" cy="1686295"/>
          </a:xfrm>
          <a:prstGeom prst="straightConnector1">
            <a:avLst/>
          </a:prstGeom>
          <a:ln w="158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avec flèche 23"/>
          <p:cNvCxnSpPr/>
          <p:nvPr/>
        </p:nvCxnSpPr>
        <p:spPr>
          <a:xfrm flipH="1" flipV="1">
            <a:off x="5907162" y="3228111"/>
            <a:ext cx="2892454" cy="1686294"/>
          </a:xfrm>
          <a:prstGeom prst="straightConnector1">
            <a:avLst/>
          </a:prstGeom>
          <a:ln w="15875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162" b="29759"/>
          <a:stretch/>
        </p:blipFill>
        <p:spPr bwMode="auto">
          <a:xfrm>
            <a:off x="689464" y="1899612"/>
            <a:ext cx="8110152" cy="5134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36562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Quelques chiffres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117424" y="1406339"/>
            <a:ext cx="9632966" cy="2708407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Chiffres</a:t>
            </a:r>
            <a:endParaRPr lang="en-US" sz="2000" b="1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err="1" smtClean="0">
                <a:solidFill>
                  <a:schemeClr val="tx2"/>
                </a:solidFill>
              </a:rPr>
              <a:t>Nombre</a:t>
            </a:r>
            <a:r>
              <a:rPr lang="en-US" sz="2000" b="1" dirty="0" smtClean="0">
                <a:solidFill>
                  <a:schemeClr val="tx2"/>
                </a:solidFill>
              </a:rPr>
              <a:t> de </a:t>
            </a:r>
            <a:r>
              <a:rPr lang="en-US" sz="2000" b="1" dirty="0" err="1" smtClean="0">
                <a:solidFill>
                  <a:schemeClr val="tx2"/>
                </a:solidFill>
              </a:rPr>
              <a:t>lignes</a:t>
            </a:r>
            <a:r>
              <a:rPr lang="en-US" sz="2000" b="1" dirty="0" smtClean="0">
                <a:solidFill>
                  <a:schemeClr val="tx2"/>
                </a:solidFill>
              </a:rPr>
              <a:t> de code : 2 500 000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err="1" smtClean="0">
                <a:solidFill>
                  <a:schemeClr val="tx2"/>
                </a:solidFill>
              </a:rPr>
              <a:t>Nombre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d’objets</a:t>
            </a:r>
            <a:r>
              <a:rPr lang="en-US" sz="2000" b="1" dirty="0" smtClean="0">
                <a:solidFill>
                  <a:schemeClr val="tx2"/>
                </a:solidFill>
              </a:rPr>
              <a:t> PL/SQL : 12 500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err="1" smtClean="0">
                <a:solidFill>
                  <a:schemeClr val="tx2"/>
                </a:solidFill>
              </a:rPr>
              <a:t>Nombre</a:t>
            </a:r>
            <a:r>
              <a:rPr lang="en-US" sz="2000" b="1" dirty="0" smtClean="0">
                <a:solidFill>
                  <a:schemeClr val="tx2"/>
                </a:solidFill>
              </a:rPr>
              <a:t> </a:t>
            </a:r>
            <a:r>
              <a:rPr lang="en-US" sz="2000" b="1" dirty="0" err="1" smtClean="0">
                <a:solidFill>
                  <a:schemeClr val="tx2"/>
                </a:solidFill>
              </a:rPr>
              <a:t>d’objets</a:t>
            </a:r>
            <a:r>
              <a:rPr lang="en-US" sz="2000" b="1" dirty="0" smtClean="0">
                <a:solidFill>
                  <a:schemeClr val="tx2"/>
                </a:solidFill>
              </a:rPr>
              <a:t> FORMS : 500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err="1" smtClean="0">
                <a:solidFill>
                  <a:schemeClr val="tx2"/>
                </a:solidFill>
              </a:rPr>
              <a:t>Nombre</a:t>
            </a:r>
            <a:r>
              <a:rPr lang="en-US" sz="2000" b="1" dirty="0" smtClean="0">
                <a:solidFill>
                  <a:schemeClr val="tx2"/>
                </a:solidFill>
              </a:rPr>
              <a:t> de tables ORACLE : 766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2000" b="1" dirty="0" err="1" smtClean="0">
                <a:solidFill>
                  <a:schemeClr val="tx2"/>
                </a:solidFill>
              </a:rPr>
              <a:t>Nombre</a:t>
            </a:r>
            <a:r>
              <a:rPr lang="en-US" sz="2000" b="1" dirty="0" smtClean="0">
                <a:solidFill>
                  <a:schemeClr val="tx2"/>
                </a:solidFill>
              </a:rPr>
              <a:t> de points de </a:t>
            </a:r>
            <a:r>
              <a:rPr lang="en-US" sz="2000" b="1" dirty="0" err="1" smtClean="0">
                <a:solidFill>
                  <a:schemeClr val="tx2"/>
                </a:solidFill>
              </a:rPr>
              <a:t>décision</a:t>
            </a:r>
            <a:r>
              <a:rPr lang="en-US" sz="2000" b="1" dirty="0" smtClean="0">
                <a:solidFill>
                  <a:schemeClr val="tx2"/>
                </a:solidFill>
              </a:rPr>
              <a:t> : 350 000</a:t>
            </a:r>
            <a:endParaRPr lang="en-US" sz="2000" b="1" dirty="0">
              <a:solidFill>
                <a:schemeClr val="tx2"/>
              </a:solidFill>
            </a:endParaRPr>
          </a:p>
        </p:txBody>
      </p:sp>
      <p:pic>
        <p:nvPicPr>
          <p:cNvPr id="18" name="il_fi" descr="http://www.creenso.fr/img/bg_quelques_chiffres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9" y="4231383"/>
            <a:ext cx="3461995" cy="274696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7117" y="4643252"/>
            <a:ext cx="2988389" cy="819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700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753600" cy="731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387" name="Espace réservé du texte 86"/>
          <p:cNvSpPr>
            <a:spLocks/>
          </p:cNvSpPr>
          <p:nvPr/>
        </p:nvSpPr>
        <p:spPr bwMode="auto">
          <a:xfrm>
            <a:off x="20638" y="1609725"/>
            <a:ext cx="1908175" cy="264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2400" dirty="0" smtClean="0">
                <a:solidFill>
                  <a:schemeClr val="bg1"/>
                </a:solidFill>
                <a:latin typeface="Arial Narrow" pitchFamily="34" charset="0"/>
              </a:rPr>
              <a:t>STEF</a:t>
            </a:r>
          </a:p>
          <a:p>
            <a:pPr algn="r">
              <a:spcBef>
                <a:spcPts val="1200"/>
              </a:spcBef>
            </a:pPr>
            <a:r>
              <a:rPr lang="fr-FR" sz="1600" i="1" dirty="0" smtClean="0">
                <a:solidFill>
                  <a:schemeClr val="bg1"/>
                </a:solidFill>
                <a:latin typeface="Arial Narrow" pitchFamily="34" charset="0"/>
              </a:rPr>
              <a:t>Le groupe</a:t>
            </a:r>
          </a:p>
          <a:p>
            <a:pPr algn="r">
              <a:spcBef>
                <a:spcPts val="1200"/>
              </a:spcBef>
            </a:pPr>
            <a:r>
              <a:rPr lang="fr-FR" sz="1600" i="1" dirty="0" smtClean="0">
                <a:solidFill>
                  <a:schemeClr val="bg1"/>
                </a:solidFill>
                <a:latin typeface="Arial Narrow" pitchFamily="34" charset="0"/>
              </a:rPr>
              <a:t>STEF IT</a:t>
            </a:r>
            <a:endParaRPr lang="fr-FR" sz="1600" i="1" dirty="0">
              <a:solidFill>
                <a:schemeClr val="bg1"/>
              </a:solidFill>
              <a:latin typeface="Arial Narrow" pitchFamily="34" charset="0"/>
            </a:endParaRPr>
          </a:p>
          <a:p>
            <a:pPr algn="r">
              <a:spcBef>
                <a:spcPts val="1200"/>
              </a:spcBef>
            </a:pPr>
            <a:r>
              <a:rPr lang="fr-FR" sz="1600" i="1" dirty="0" smtClean="0">
                <a:solidFill>
                  <a:schemeClr val="bg1"/>
                </a:solidFill>
                <a:latin typeface="Arial Narrow" pitchFamily="34" charset="0"/>
              </a:rPr>
              <a:t>Pôle Logistique</a:t>
            </a:r>
            <a:endParaRPr lang="fr-FR" sz="1600" i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6388" name="Espace réservé du texte 1"/>
          <p:cNvSpPr>
            <a:spLocks/>
          </p:cNvSpPr>
          <p:nvPr/>
        </p:nvSpPr>
        <p:spPr bwMode="auto">
          <a:xfrm>
            <a:off x="1973263" y="1609725"/>
            <a:ext cx="1908175" cy="264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2400" dirty="0" smtClean="0">
                <a:solidFill>
                  <a:schemeClr val="bg1"/>
                </a:solidFill>
                <a:latin typeface="Arial Narrow" pitchFamily="34" charset="0"/>
              </a:rPr>
              <a:t>SI Logistique</a:t>
            </a:r>
          </a:p>
          <a:p>
            <a:pPr algn="r">
              <a:spcBef>
                <a:spcPts val="1200"/>
              </a:spcBef>
            </a:pPr>
            <a:r>
              <a:rPr lang="fr-FR" sz="1600" i="1" dirty="0" smtClean="0">
                <a:solidFill>
                  <a:schemeClr val="bg1"/>
                </a:solidFill>
                <a:latin typeface="Arial Narrow" pitchFamily="34" charset="0"/>
              </a:rPr>
              <a:t>Focus</a:t>
            </a:r>
          </a:p>
          <a:p>
            <a:pPr algn="r">
              <a:spcBef>
                <a:spcPts val="1200"/>
              </a:spcBef>
            </a:pPr>
            <a:r>
              <a:rPr lang="fr-FR" sz="1600" i="1" dirty="0" smtClean="0">
                <a:solidFill>
                  <a:schemeClr val="bg1"/>
                </a:solidFill>
                <a:latin typeface="Arial Narrow" pitchFamily="34" charset="0"/>
              </a:rPr>
              <a:t>Problématiques</a:t>
            </a:r>
            <a:endParaRPr lang="fr-FR" sz="1600" i="1" dirty="0">
              <a:solidFill>
                <a:schemeClr val="bg1"/>
              </a:solidFill>
              <a:latin typeface="Arial Narrow" pitchFamily="34" charset="0"/>
            </a:endParaRPr>
          </a:p>
          <a:p>
            <a:pPr algn="r">
              <a:spcBef>
                <a:spcPts val="1200"/>
              </a:spcBef>
            </a:pPr>
            <a:endParaRPr lang="fr-FR" sz="1600" i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6389" name="Espace réservé du texte 2"/>
          <p:cNvSpPr>
            <a:spLocks/>
          </p:cNvSpPr>
          <p:nvPr/>
        </p:nvSpPr>
        <p:spPr bwMode="auto">
          <a:xfrm>
            <a:off x="3925888" y="1609725"/>
            <a:ext cx="1908175" cy="264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2400" dirty="0" smtClean="0">
                <a:solidFill>
                  <a:schemeClr val="bg1"/>
                </a:solidFill>
                <a:latin typeface="Arial Narrow" pitchFamily="34" charset="0"/>
              </a:rPr>
              <a:t>Le Projet</a:t>
            </a:r>
          </a:p>
          <a:p>
            <a:pPr algn="r">
              <a:spcBef>
                <a:spcPts val="1200"/>
              </a:spcBef>
            </a:pPr>
            <a:r>
              <a:rPr lang="fr-FR" sz="1600" i="1" dirty="0" smtClean="0">
                <a:solidFill>
                  <a:schemeClr val="bg1"/>
                </a:solidFill>
                <a:latin typeface="Arial Narrow" pitchFamily="34" charset="0"/>
              </a:rPr>
              <a:t>Objectifs</a:t>
            </a:r>
          </a:p>
          <a:p>
            <a:pPr algn="r">
              <a:spcBef>
                <a:spcPts val="1200"/>
              </a:spcBef>
            </a:pPr>
            <a:r>
              <a:rPr lang="fr-FR" sz="1600" i="1" dirty="0" smtClean="0">
                <a:solidFill>
                  <a:schemeClr val="bg1"/>
                </a:solidFill>
                <a:latin typeface="Arial Narrow" pitchFamily="34" charset="0"/>
              </a:rPr>
              <a:t>Périmètre d’action</a:t>
            </a:r>
            <a:endParaRPr lang="fr-FR" sz="1600" i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6390" name="Espace réservé du texte 4"/>
          <p:cNvSpPr>
            <a:spLocks/>
          </p:cNvSpPr>
          <p:nvPr/>
        </p:nvSpPr>
        <p:spPr bwMode="auto">
          <a:xfrm>
            <a:off x="5876925" y="1609725"/>
            <a:ext cx="1908175" cy="264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2400" dirty="0" smtClean="0">
                <a:solidFill>
                  <a:schemeClr val="bg1"/>
                </a:solidFill>
                <a:latin typeface="Arial Narrow" pitchFamily="34" charset="0"/>
              </a:rPr>
              <a:t>Macro Planning</a:t>
            </a:r>
            <a:endParaRPr lang="fr-FR" sz="1600" i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6391" name="Espace réservé du texte 6"/>
          <p:cNvSpPr>
            <a:spLocks/>
          </p:cNvSpPr>
          <p:nvPr/>
        </p:nvSpPr>
        <p:spPr bwMode="auto">
          <a:xfrm>
            <a:off x="1084263" y="849313"/>
            <a:ext cx="844550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48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6392" name="Espace réservé du texte 7"/>
          <p:cNvSpPr>
            <a:spLocks/>
          </p:cNvSpPr>
          <p:nvPr/>
        </p:nvSpPr>
        <p:spPr bwMode="auto">
          <a:xfrm>
            <a:off x="3036888" y="849313"/>
            <a:ext cx="844550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48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6393" name="Espace réservé du texte 8"/>
          <p:cNvSpPr>
            <a:spLocks/>
          </p:cNvSpPr>
          <p:nvPr/>
        </p:nvSpPr>
        <p:spPr bwMode="auto">
          <a:xfrm>
            <a:off x="4987925" y="849313"/>
            <a:ext cx="846138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48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6394" name="Espace réservé du texte 13"/>
          <p:cNvSpPr>
            <a:spLocks/>
          </p:cNvSpPr>
          <p:nvPr/>
        </p:nvSpPr>
        <p:spPr bwMode="auto">
          <a:xfrm>
            <a:off x="6940550" y="849313"/>
            <a:ext cx="844550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/>
          <a:p>
            <a:pPr algn="r">
              <a:spcBef>
                <a:spcPts val="1200"/>
              </a:spcBef>
            </a:pPr>
            <a:r>
              <a:rPr lang="fr-FR" sz="48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395" name="Espace réservé du texte 4"/>
          <p:cNvSpPr txBox="1">
            <a:spLocks/>
          </p:cNvSpPr>
          <p:nvPr/>
        </p:nvSpPr>
        <p:spPr bwMode="auto">
          <a:xfrm>
            <a:off x="7829550" y="1609725"/>
            <a:ext cx="1908175" cy="264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r" eaLnBrk="1" hangingPunct="1">
              <a:spcBef>
                <a:spcPts val="1200"/>
              </a:spcBef>
              <a:buFont typeface="Arial" charset="0"/>
              <a:buNone/>
            </a:pPr>
            <a:r>
              <a:rPr lang="fr-FR" sz="2400" dirty="0" smtClean="0">
                <a:solidFill>
                  <a:schemeClr val="bg1"/>
                </a:solidFill>
                <a:latin typeface="Arial Narrow" pitchFamily="34" charset="0"/>
              </a:rPr>
              <a:t>Communication</a:t>
            </a:r>
            <a:endParaRPr lang="fr-FR" sz="1600" i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6396" name="Espace réservé du texte 13"/>
          <p:cNvSpPr txBox="1">
            <a:spLocks/>
          </p:cNvSpPr>
          <p:nvPr/>
        </p:nvSpPr>
        <p:spPr bwMode="auto">
          <a:xfrm>
            <a:off x="8891588" y="849313"/>
            <a:ext cx="8461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48765" rIns="72000" bIns="48765"/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r" eaLnBrk="1" hangingPunct="1">
              <a:spcBef>
                <a:spcPts val="1200"/>
              </a:spcBef>
              <a:buFont typeface="Arial" charset="0"/>
              <a:buNone/>
            </a:pPr>
            <a:r>
              <a:rPr lang="fr-FR" sz="48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3689" name="Rectangle 25"/>
          <p:cNvSpPr>
            <a:spLocks noGrp="1" noChangeArrowheads="1"/>
          </p:cNvSpPr>
          <p:nvPr>
            <p:ph type="subTitle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dirty="0" smtClean="0">
                <a:latin typeface="Arial Narrow" pitchFamily="34" charset="0"/>
                <a:ea typeface="ＭＳ Ｐゴシック" pitchFamily="-106" charset="-128"/>
              </a:rPr>
              <a:t>Version 1.0</a:t>
            </a:r>
            <a:endParaRPr lang="fr-FR" dirty="0">
              <a:latin typeface="Arial Narrow" pitchFamily="34" charset="0"/>
              <a:ea typeface="ＭＳ Ｐゴシック" pitchFamily="-106" charset="-128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50" y="6119947"/>
            <a:ext cx="1591294" cy="851513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3409" y="6238148"/>
            <a:ext cx="1979056" cy="615112"/>
          </a:xfrm>
          <a:prstGeom prst="rect">
            <a:avLst/>
          </a:prstGeom>
        </p:spPr>
      </p:pic>
      <p:sp>
        <p:nvSpPr>
          <p:cNvPr id="17" name="Rectangle 15"/>
          <p:cNvSpPr txBox="1">
            <a:spLocks/>
          </p:cNvSpPr>
          <p:nvPr/>
        </p:nvSpPr>
        <p:spPr bwMode="auto">
          <a:xfrm>
            <a:off x="1243526" y="4965121"/>
            <a:ext cx="775493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t" anchorCtr="0" compatLnSpc="1">
            <a:prstTxWarp prst="textNoShape">
              <a:avLst/>
            </a:prstTxWarp>
          </a:bodyPr>
          <a:lstStyle>
            <a:lvl1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rgbClr val="00519E"/>
                </a:solidFill>
                <a:latin typeface="Arial Narrow" charset="0"/>
                <a:ea typeface="ＭＳ Ｐゴシック" charset="0"/>
                <a:cs typeface="+mj-cs"/>
              </a:defRPr>
            </a:lvl1pPr>
            <a:lvl2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2pPr>
            <a:lvl3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3pPr>
            <a:lvl4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4pPr>
            <a:lvl5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5pPr>
            <a:lvl6pPr marL="4572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6pPr>
            <a:lvl7pPr marL="9144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7pPr>
            <a:lvl8pPr marL="13716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8pPr>
            <a:lvl9pPr marL="18288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9pPr>
          </a:lstStyle>
          <a:p>
            <a:pPr eaLnBrk="1" hangingPunct="1"/>
            <a:r>
              <a:rPr lang="fr-FR" dirty="0" smtClean="0">
                <a:latin typeface="Arial Narrow" pitchFamily="34" charset="0"/>
                <a:ea typeface="ＭＳ Ｐゴシック" pitchFamily="-106" charset="-128"/>
              </a:rPr>
              <a:t>STEF IT / INSA : Projet de conception</a:t>
            </a:r>
            <a:br>
              <a:rPr lang="fr-FR" dirty="0" smtClean="0">
                <a:latin typeface="Arial Narrow" pitchFamily="34" charset="0"/>
                <a:ea typeface="ＭＳ Ｐゴシック" pitchFamily="-106" charset="-128"/>
              </a:rPr>
            </a:br>
            <a:r>
              <a:rPr lang="fr-FR" dirty="0" smtClean="0">
                <a:latin typeface="Arial Narrow" pitchFamily="34" charset="0"/>
                <a:ea typeface="ＭＳ Ｐゴシック" pitchFamily="-106" charset="-128"/>
              </a:rPr>
              <a:t>Stratégie de mutation d’un SI – S0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Problématiques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789002" y="1051782"/>
            <a:ext cx="7735009" cy="555889"/>
          </a:xfrm>
          <a:prstGeom prst="rect">
            <a:avLst/>
          </a:prstGeom>
        </p:spPr>
        <p:txBody>
          <a:bodyPr/>
          <a:lstStyle>
            <a:lvl1pPr marL="365125" indent="-365125" algn="l" defTabSz="974725" rtl="0" eaLnBrk="0" fontAlgn="base" hangingPunct="0">
              <a:spcBef>
                <a:spcPts val="1200"/>
              </a:spcBef>
              <a:spcAft>
                <a:spcPct val="0"/>
              </a:spcAft>
              <a:buBlip>
                <a:blip r:embed="rId4"/>
              </a:buBlip>
              <a:defRPr lang="fr-FR" sz="24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1pPr>
            <a:lvl2pPr marL="792163" indent="-303213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20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2pPr>
            <a:lvl3pPr marL="121761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3pPr>
            <a:lvl4pPr marL="170656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4pPr>
            <a:lvl5pPr marL="2193925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5pPr>
            <a:lvl6pPr marL="268207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6972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37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02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fr-FR" sz="1400" b="1" dirty="0" smtClean="0"/>
              <a:t>Un WMS difficile à maintenir et de plus en plus difficile à faire évoluer</a:t>
            </a:r>
          </a:p>
          <a:p>
            <a:pPr>
              <a:lnSpc>
                <a:spcPct val="110000"/>
              </a:lnSpc>
            </a:pPr>
            <a:endParaRPr lang="fr-FR" sz="1400" b="1" dirty="0" smtClean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387713" y="1607671"/>
            <a:ext cx="9229815" cy="4783505"/>
          </a:xfrm>
          <a:prstGeom prst="rect">
            <a:avLst/>
          </a:prstGeom>
        </p:spPr>
        <p:txBody>
          <a:bodyPr/>
          <a:lstStyle>
            <a:lvl1pPr marL="365125" indent="-365125" algn="l" defTabSz="974725" rtl="0" eaLnBrk="0" fontAlgn="base" hangingPunct="0">
              <a:spcBef>
                <a:spcPts val="1200"/>
              </a:spcBef>
              <a:spcAft>
                <a:spcPct val="0"/>
              </a:spcAft>
              <a:buBlip>
                <a:blip r:embed="rId4"/>
              </a:buBlip>
              <a:defRPr lang="fr-FR" sz="24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1pPr>
            <a:lvl2pPr marL="792163" indent="-303213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20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2pPr>
            <a:lvl3pPr marL="121761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3pPr>
            <a:lvl4pPr marL="170656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4pPr>
            <a:lvl5pPr marL="2193925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5pPr>
            <a:lvl6pPr marL="268207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6972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37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02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fr-FR" sz="1400" b="1" dirty="0" smtClean="0"/>
              <a:t>Exemple</a:t>
            </a:r>
          </a:p>
          <a:p>
            <a:pPr lvl="1">
              <a:lnSpc>
                <a:spcPct val="110000"/>
              </a:lnSpc>
            </a:pPr>
            <a:r>
              <a:rPr lang="fr-FR" sz="1200" dirty="0" smtClean="0"/>
              <a:t>On peut convenir que le processus métier de réception de marchandises est commun à l’ensemble des sites STEF</a:t>
            </a:r>
          </a:p>
          <a:p>
            <a:pPr lvl="1">
              <a:lnSpc>
                <a:spcPct val="110000"/>
              </a:lnSpc>
            </a:pPr>
            <a:endParaRPr lang="fr-FR" sz="1000" b="1" dirty="0" smtClean="0"/>
          </a:p>
          <a:p>
            <a:pPr lvl="1"/>
            <a:endParaRPr lang="fr-FR" sz="1400" dirty="0"/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5627" y="2192490"/>
            <a:ext cx="6653689" cy="477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Flèche droite à entaille 13"/>
          <p:cNvSpPr/>
          <p:nvPr/>
        </p:nvSpPr>
        <p:spPr>
          <a:xfrm>
            <a:off x="-1694644" y="4284768"/>
            <a:ext cx="586065" cy="296883"/>
          </a:xfrm>
          <a:prstGeom prst="notchedRightArrow">
            <a:avLst/>
          </a:prstGeom>
          <a:solidFill>
            <a:srgbClr val="00519E"/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  <a:scene3d>
            <a:camera prst="orthographicFront"/>
            <a:lightRig rig="flood" dir="t">
              <a:rot lat="0" lon="0" rev="3000000"/>
            </a:lightRig>
          </a:scene3d>
          <a:sp3d extrusionH="19050" contourW="19050" prstMaterial="dkEdge">
            <a:bevelT prst="cross"/>
            <a:bevelB prst="relaxedInset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721" y="2192490"/>
            <a:ext cx="5905500" cy="479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Flèche droite à entaille 16"/>
          <p:cNvSpPr/>
          <p:nvPr/>
        </p:nvSpPr>
        <p:spPr>
          <a:xfrm>
            <a:off x="-1542244" y="4437168"/>
            <a:ext cx="586065" cy="296883"/>
          </a:xfrm>
          <a:prstGeom prst="notchedRightArrow">
            <a:avLst/>
          </a:prstGeom>
          <a:solidFill>
            <a:srgbClr val="00519E"/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  <a:scene3d>
            <a:camera prst="orthographicFront"/>
            <a:lightRig rig="flood" dir="t">
              <a:rot lat="0" lon="0" rev="3000000"/>
            </a:lightRig>
          </a:scene3d>
          <a:sp3d extrusionH="19050" contourW="19050" prstMaterial="dkEdge">
            <a:bevelT prst="cross"/>
            <a:bevelB prst="relaxedInset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5626" y="2202959"/>
            <a:ext cx="6909209" cy="476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4291" y="2780804"/>
            <a:ext cx="6198319" cy="2871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Accolade fermante 19"/>
          <p:cNvSpPr/>
          <p:nvPr/>
        </p:nvSpPr>
        <p:spPr>
          <a:xfrm>
            <a:off x="6436426" y="5064826"/>
            <a:ext cx="213755" cy="534389"/>
          </a:xfrm>
          <a:prstGeom prst="rightBrac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8434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221 -0.00152 L 0.59687 -0.2172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225" y="-1078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4484E-6 3.88889E-6 L 0.36535 0.01649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68" y="82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7" grpId="0" animBg="1"/>
      <p:bldP spid="17" grpId="1" animBg="1"/>
      <p:bldP spid="2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Problématiques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1789002" y="1051782"/>
            <a:ext cx="7735009" cy="555889"/>
          </a:xfrm>
          <a:prstGeom prst="rect">
            <a:avLst/>
          </a:prstGeom>
        </p:spPr>
        <p:txBody>
          <a:bodyPr/>
          <a:lstStyle>
            <a:lvl1pPr marL="365125" indent="-365125" algn="l" defTabSz="974725" rtl="0" eaLnBrk="0" fontAlgn="base" hangingPunct="0">
              <a:spcBef>
                <a:spcPts val="1200"/>
              </a:spcBef>
              <a:spcAft>
                <a:spcPct val="0"/>
              </a:spcAft>
              <a:buBlip>
                <a:blip r:embed="rId4"/>
              </a:buBlip>
              <a:defRPr lang="fr-FR" sz="24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1pPr>
            <a:lvl2pPr marL="792163" indent="-303213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20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2pPr>
            <a:lvl3pPr marL="121761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3pPr>
            <a:lvl4pPr marL="170656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4pPr>
            <a:lvl5pPr marL="2193925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5pPr>
            <a:lvl6pPr marL="268207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6972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37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02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fr-FR" sz="1400" b="1" dirty="0"/>
              <a:t>Un WMS difficile à maintenir et de plus en plus difficile à faire évoluer</a:t>
            </a:r>
          </a:p>
          <a:p>
            <a:pPr>
              <a:lnSpc>
                <a:spcPct val="110000"/>
              </a:lnSpc>
            </a:pPr>
            <a:endParaRPr lang="fr-FR" sz="1800" b="1" dirty="0"/>
          </a:p>
          <a:p>
            <a:pPr>
              <a:lnSpc>
                <a:spcPct val="110000"/>
              </a:lnSpc>
            </a:pPr>
            <a:endParaRPr lang="fr-FR" sz="1400" b="1" dirty="0" smtClean="0"/>
          </a:p>
          <a:p>
            <a:pPr>
              <a:lnSpc>
                <a:spcPct val="110000"/>
              </a:lnSpc>
            </a:pPr>
            <a:endParaRPr lang="fr-FR" sz="1400" b="1" dirty="0" smtClean="0"/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>
          <a:xfrm>
            <a:off x="387713" y="1477042"/>
            <a:ext cx="9229815" cy="4783505"/>
          </a:xfrm>
          <a:prstGeom prst="rect">
            <a:avLst/>
          </a:prstGeom>
        </p:spPr>
        <p:txBody>
          <a:bodyPr/>
          <a:lstStyle>
            <a:lvl1pPr marL="365125" indent="-365125" algn="l" defTabSz="974725" rtl="0" eaLnBrk="0" fontAlgn="base" hangingPunct="0">
              <a:spcBef>
                <a:spcPts val="1200"/>
              </a:spcBef>
              <a:spcAft>
                <a:spcPct val="0"/>
              </a:spcAft>
              <a:buBlip>
                <a:blip r:embed="rId4"/>
              </a:buBlip>
              <a:defRPr lang="fr-FR" sz="24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1pPr>
            <a:lvl2pPr marL="792163" indent="-303213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20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2pPr>
            <a:lvl3pPr marL="121761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3pPr>
            <a:lvl4pPr marL="1706563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4pPr>
            <a:lvl5pPr marL="2193925" indent="-242888" algn="l" defTabSz="974725" rtl="0" eaLnBrk="0" fontAlgn="base" hangingPunct="0">
              <a:spcBef>
                <a:spcPts val="600"/>
              </a:spcBef>
              <a:spcAft>
                <a:spcPct val="0"/>
              </a:spcAft>
              <a:buBlip>
                <a:blip r:embed="rId5"/>
              </a:buBlip>
              <a:defRPr lang="fr-FR" sz="1600" kern="1200" dirty="0">
                <a:solidFill>
                  <a:srgbClr val="00519E"/>
                </a:solidFill>
                <a:latin typeface="+mn-lt"/>
                <a:ea typeface="ＭＳ Ｐゴシック" charset="0"/>
                <a:cs typeface="+mn-cs"/>
              </a:defRPr>
            </a:lvl5pPr>
            <a:lvl6pPr marL="268207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69722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37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021" indent="-243825" algn="l" defTabSz="9752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fr-FR" sz="1400" b="1" dirty="0" smtClean="0"/>
              <a:t>Exemple</a:t>
            </a:r>
          </a:p>
          <a:p>
            <a:pPr lvl="1">
              <a:lnSpc>
                <a:spcPct val="110000"/>
              </a:lnSpc>
            </a:pPr>
            <a:r>
              <a:rPr lang="fr-FR" sz="1200" dirty="0" smtClean="0"/>
              <a:t>La mise en œuvre de ce processus au niveau de WMS est en revanche fortement éclatée</a:t>
            </a:r>
          </a:p>
          <a:p>
            <a:pPr lvl="2">
              <a:lnSpc>
                <a:spcPct val="110000"/>
              </a:lnSpc>
            </a:pPr>
            <a:r>
              <a:rPr lang="fr-FR" sz="1100" dirty="0" smtClean="0"/>
              <a:t>Réception pupitre</a:t>
            </a:r>
          </a:p>
          <a:p>
            <a:pPr lvl="3">
              <a:lnSpc>
                <a:spcPct val="110000"/>
              </a:lnSpc>
            </a:pPr>
            <a:r>
              <a:rPr lang="fr-FR" sz="800" dirty="0"/>
              <a:t>Avec ou sans annoncé</a:t>
            </a:r>
          </a:p>
          <a:p>
            <a:pPr lvl="3">
              <a:lnSpc>
                <a:spcPct val="110000"/>
              </a:lnSpc>
            </a:pPr>
            <a:r>
              <a:rPr lang="fr-FR" sz="800" dirty="0"/>
              <a:t>Avec SSCC ou DUN 14 ou </a:t>
            </a:r>
            <a:r>
              <a:rPr lang="fr-FR" sz="800" dirty="0" smtClean="0"/>
              <a:t>…</a:t>
            </a:r>
          </a:p>
          <a:p>
            <a:pPr lvl="2">
              <a:lnSpc>
                <a:spcPct val="110000"/>
              </a:lnSpc>
            </a:pPr>
            <a:r>
              <a:rPr lang="fr-FR" sz="1100" dirty="0" smtClean="0"/>
              <a:t>Réception pistolet radio</a:t>
            </a:r>
          </a:p>
          <a:p>
            <a:pPr lvl="3">
              <a:lnSpc>
                <a:spcPct val="110000"/>
              </a:lnSpc>
            </a:pPr>
            <a:r>
              <a:rPr lang="fr-FR" sz="800" dirty="0" smtClean="0"/>
              <a:t>Avec ou sans annoncé</a:t>
            </a:r>
          </a:p>
          <a:p>
            <a:pPr lvl="3">
              <a:lnSpc>
                <a:spcPct val="110000"/>
              </a:lnSpc>
            </a:pPr>
            <a:r>
              <a:rPr lang="fr-FR" sz="800" dirty="0" smtClean="0"/>
              <a:t>Avec SSCC ou DUN 14 ou …</a:t>
            </a:r>
          </a:p>
          <a:p>
            <a:pPr lvl="2">
              <a:lnSpc>
                <a:spcPct val="110000"/>
              </a:lnSpc>
            </a:pPr>
            <a:r>
              <a:rPr lang="fr-FR" sz="1100" dirty="0" smtClean="0"/>
              <a:t>Réception terminaux passifs</a:t>
            </a:r>
          </a:p>
          <a:p>
            <a:pPr lvl="2">
              <a:lnSpc>
                <a:spcPct val="110000"/>
              </a:lnSpc>
            </a:pPr>
            <a:r>
              <a:rPr lang="fr-FR" sz="1100" dirty="0" smtClean="0"/>
              <a:t>………….</a:t>
            </a:r>
          </a:p>
          <a:p>
            <a:pPr marL="1463675" lvl="3" indent="0">
              <a:lnSpc>
                <a:spcPct val="110000"/>
              </a:lnSpc>
              <a:buNone/>
            </a:pPr>
            <a:endParaRPr lang="fr-FR" sz="800" dirty="0" smtClean="0"/>
          </a:p>
          <a:p>
            <a:pPr lvl="1">
              <a:lnSpc>
                <a:spcPct val="110000"/>
              </a:lnSpc>
            </a:pPr>
            <a:endParaRPr lang="fr-FR" sz="1000" b="1" dirty="0" smtClean="0"/>
          </a:p>
          <a:p>
            <a:pPr lvl="1"/>
            <a:endParaRPr lang="fr-FR" sz="1400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066" y="2268016"/>
            <a:ext cx="4133965" cy="384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29" y="4273398"/>
            <a:ext cx="6963512" cy="2733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4433" y="2154877"/>
            <a:ext cx="4591050" cy="495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1256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10" y="-5346"/>
            <a:ext cx="9753600" cy="464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 smtClean="0">
                <a:ea typeface="ＭＳ Ｐゴシック" pitchFamily="-106" charset="-128"/>
              </a:rPr>
              <a:t>SI Logistique</a:t>
            </a:r>
          </a:p>
        </p:txBody>
      </p:sp>
      <p:grpSp>
        <p:nvGrpSpPr>
          <p:cNvPr id="6" name="Groupe 2"/>
          <p:cNvGrpSpPr>
            <a:grpSpLocks/>
          </p:cNvGrpSpPr>
          <p:nvPr/>
        </p:nvGrpSpPr>
        <p:grpSpPr bwMode="auto">
          <a:xfrm>
            <a:off x="4566622" y="-48388"/>
            <a:ext cx="4884426" cy="1012413"/>
            <a:chOff x="5581327" y="541256"/>
            <a:chExt cx="8060754" cy="1831452"/>
          </a:xfrm>
        </p:grpSpPr>
        <p:grpSp>
          <p:nvGrpSpPr>
            <p:cNvPr id="7" name="Groupe 19"/>
            <p:cNvGrpSpPr>
              <a:grpSpLocks/>
            </p:cNvGrpSpPr>
            <p:nvPr/>
          </p:nvGrpSpPr>
          <p:grpSpPr bwMode="auto">
            <a:xfrm>
              <a:off x="5775042" y="1052460"/>
              <a:ext cx="7867039" cy="733630"/>
              <a:chOff x="12499478" y="297741"/>
              <a:chExt cx="18471321" cy="1044216"/>
            </a:xfrm>
          </p:grpSpPr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2499478" y="320920"/>
                <a:ext cx="18471321" cy="1021037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 dirty="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" name="ZoneTexte 22"/>
              <p:cNvSpPr txBox="1">
                <a:spLocks noChangeArrowheads="1"/>
              </p:cNvSpPr>
              <p:nvPr/>
            </p:nvSpPr>
            <p:spPr bwMode="auto">
              <a:xfrm>
                <a:off x="15775633" y="297741"/>
                <a:ext cx="14005731" cy="1030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Problématiques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8" name="Imag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1327" y="541256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117424" y="1560718"/>
            <a:ext cx="9632966" cy="3631737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En synthèse :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De nombreuses redondances de fonctions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Des traitements liés au média d’exécution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fr-FR" sz="2000" b="1" dirty="0">
              <a:solidFill>
                <a:schemeClr val="tx2"/>
              </a:solidFill>
            </a:endParaRPr>
          </a:p>
          <a:p>
            <a:pPr marL="34290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>
                <a:solidFill>
                  <a:schemeClr val="tx2"/>
                </a:solidFill>
              </a:rPr>
              <a:t>Avec pour conséquences :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Une application difficile à tester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Des coûts de maintenance et d’évolution élevés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en-US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76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7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38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39" name="Rectangle 4"/>
          <p:cNvSpPr>
            <a:spLocks noGrp="1"/>
          </p:cNvSpPr>
          <p:nvPr>
            <p:ph type="ctrTitle"/>
          </p:nvPr>
        </p:nvSpPr>
        <p:spPr>
          <a:xfrm>
            <a:off x="5843066" y="2988338"/>
            <a:ext cx="1823828" cy="1101341"/>
          </a:xfrm>
        </p:spPr>
        <p:txBody>
          <a:bodyPr/>
          <a:lstStyle/>
          <a:p>
            <a:pPr eaLnBrk="1" hangingPunct="1"/>
            <a:r>
              <a:rPr lang="fr-FR" sz="12300" dirty="0">
                <a:solidFill>
                  <a:schemeClr val="bg1"/>
                </a:solidFill>
              </a:rPr>
              <a:t>3</a:t>
            </a:r>
            <a:endParaRPr lang="fr-FR" sz="12300" dirty="0" smtClean="0">
              <a:solidFill>
                <a:schemeClr val="bg1"/>
              </a:solidFill>
            </a:endParaRPr>
          </a:p>
        </p:txBody>
      </p:sp>
      <p:sp>
        <p:nvSpPr>
          <p:cNvPr id="14234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692338" y="4015634"/>
            <a:ext cx="3411467" cy="1225106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3400" b="1" dirty="0" smtClean="0">
                <a:solidFill>
                  <a:schemeClr val="accent1"/>
                </a:solidFill>
              </a:rPr>
              <a:t>Le Projet</a:t>
            </a:r>
          </a:p>
        </p:txBody>
      </p:sp>
    </p:spTree>
    <p:extLst>
      <p:ext uri="{BB962C8B-B14F-4D97-AF65-F5344CB8AC3E}">
        <p14:creationId xmlns:p14="http://schemas.microsoft.com/office/powerpoint/2010/main" val="1488331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7" name="Picture 10" descr="STEF_Header_oran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>
              <a:defRPr/>
            </a:pPr>
            <a:r>
              <a:rPr lang="fr-FR" b="1" dirty="0" smtClean="0"/>
              <a:t>Le Projet</a:t>
            </a:r>
            <a:endParaRPr lang="fr-FR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135577" y="1475058"/>
            <a:ext cx="9316190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914400" lvl="2" indent="0">
              <a:defRPr/>
            </a:pPr>
            <a:endParaRPr lang="fr-FR" sz="1350" dirty="0">
              <a:solidFill>
                <a:srgbClr val="00B0F0"/>
              </a:solidFill>
            </a:endParaRPr>
          </a:p>
        </p:txBody>
      </p:sp>
      <p:grpSp>
        <p:nvGrpSpPr>
          <p:cNvPr id="26" name="Groupe 24"/>
          <p:cNvGrpSpPr>
            <a:grpSpLocks/>
          </p:cNvGrpSpPr>
          <p:nvPr/>
        </p:nvGrpSpPr>
        <p:grpSpPr bwMode="auto">
          <a:xfrm>
            <a:off x="4876800" y="0"/>
            <a:ext cx="4740729" cy="915988"/>
            <a:chOff x="488156" y="2402213"/>
            <a:chExt cx="8249726" cy="1831452"/>
          </a:xfrm>
        </p:grpSpPr>
        <p:grpSp>
          <p:nvGrpSpPr>
            <p:cNvPr id="27" name="Groupe 25"/>
            <p:cNvGrpSpPr>
              <a:grpSpLocks/>
            </p:cNvGrpSpPr>
            <p:nvPr/>
          </p:nvGrpSpPr>
          <p:grpSpPr bwMode="auto">
            <a:xfrm>
              <a:off x="681870" y="2912461"/>
              <a:ext cx="8056012" cy="799991"/>
              <a:chOff x="541070" y="2945182"/>
              <a:chExt cx="18915019" cy="1138674"/>
            </a:xfrm>
          </p:grpSpPr>
          <p:sp>
            <p:nvSpPr>
              <p:cNvPr id="29" name="Rectangle 28"/>
              <p:cNvSpPr>
                <a:spLocks noChangeArrowheads="1"/>
              </p:cNvSpPr>
              <p:nvPr/>
            </p:nvSpPr>
            <p:spPr bwMode="auto">
              <a:xfrm>
                <a:off x="541070" y="3011802"/>
                <a:ext cx="18915019" cy="1072054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0" name="ZoneTexte 33"/>
              <p:cNvSpPr txBox="1">
                <a:spLocks noChangeArrowheads="1"/>
              </p:cNvSpPr>
              <p:nvPr/>
            </p:nvSpPr>
            <p:spPr bwMode="auto">
              <a:xfrm>
                <a:off x="3817233" y="2945182"/>
                <a:ext cx="15638856" cy="11386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Objectifs &amp; Contraintes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28" name="Image 3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156" y="2402213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310220" y="1639492"/>
            <a:ext cx="9133159" cy="2015910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0" lvl="1" indent="0" algn="ctr" defTabSz="914400" eaLnBrk="1" hangingPunct="1">
              <a:spcBef>
                <a:spcPct val="50000"/>
              </a:spcBef>
            </a:pPr>
            <a:r>
              <a:rPr lang="fr-FR" sz="2500" b="1" i="1" dirty="0" smtClean="0">
                <a:solidFill>
                  <a:schemeClr val="tx2"/>
                </a:solidFill>
              </a:rPr>
              <a:t>Déterminer les différents </a:t>
            </a:r>
            <a:r>
              <a:rPr lang="fr-FR" sz="2500" b="1" i="1" u="sng" dirty="0" smtClean="0">
                <a:solidFill>
                  <a:schemeClr val="tx2"/>
                </a:solidFill>
              </a:rPr>
              <a:t>scénarii de mutation</a:t>
            </a:r>
            <a:r>
              <a:rPr lang="fr-FR" sz="2500" b="1" i="1" dirty="0" smtClean="0">
                <a:solidFill>
                  <a:schemeClr val="tx2"/>
                </a:solidFill>
              </a:rPr>
              <a:t> possibles du SI Logistique</a:t>
            </a:r>
          </a:p>
          <a:p>
            <a:pPr marL="0" lvl="1" indent="0" algn="ctr" defTabSz="914400" eaLnBrk="1" hangingPunct="1">
              <a:spcBef>
                <a:spcPct val="50000"/>
              </a:spcBef>
            </a:pPr>
            <a:endParaRPr lang="fr-FR" sz="2500" b="1" i="1" dirty="0">
              <a:solidFill>
                <a:schemeClr val="tx2"/>
              </a:solidFill>
            </a:endParaRPr>
          </a:p>
          <a:p>
            <a:pPr marL="0" lvl="1" indent="0" algn="ctr" defTabSz="914400" eaLnBrk="1" hangingPunct="1">
              <a:spcBef>
                <a:spcPct val="50000"/>
              </a:spcBef>
            </a:pPr>
            <a:r>
              <a:rPr lang="fr-FR" sz="2500" i="1" dirty="0" smtClean="0">
                <a:solidFill>
                  <a:schemeClr val="tx2"/>
                </a:solidFill>
              </a:rPr>
              <a:t>Un scénario = Une solution et sa </a:t>
            </a:r>
            <a:r>
              <a:rPr lang="fr-FR" sz="2500" i="1" dirty="0" err="1" smtClean="0">
                <a:solidFill>
                  <a:schemeClr val="tx2"/>
                </a:solidFill>
              </a:rPr>
              <a:t>RoadMap</a:t>
            </a:r>
            <a:r>
              <a:rPr lang="fr-FR" sz="2500" i="1" dirty="0" smtClean="0">
                <a:solidFill>
                  <a:schemeClr val="tx2"/>
                </a:solidFill>
              </a:rPr>
              <a:t> de mise en œuvre</a:t>
            </a:r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318608" y="4398906"/>
            <a:ext cx="9133159" cy="2092854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Respect des contraintes afférentes à ce type d’évolution majeure :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dirty="0" smtClean="0">
                <a:solidFill>
                  <a:schemeClr val="tx2"/>
                </a:solidFill>
              </a:rPr>
              <a:t>Respect du rôle initial de STEF IT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dirty="0" smtClean="0">
                <a:solidFill>
                  <a:schemeClr val="tx2"/>
                </a:solidFill>
              </a:rPr>
              <a:t>Maitrise des incidences économiques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dirty="0" smtClean="0">
                <a:solidFill>
                  <a:schemeClr val="tx2"/>
                </a:solidFill>
              </a:rPr>
              <a:t>Prise en compte des technologies maitrisées et des compétences des équipes</a:t>
            </a:r>
          </a:p>
        </p:txBody>
      </p:sp>
    </p:spTree>
    <p:extLst>
      <p:ext uri="{BB962C8B-B14F-4D97-AF65-F5344CB8AC3E}">
        <p14:creationId xmlns:p14="http://schemas.microsoft.com/office/powerpoint/2010/main" val="54247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03" y="897056"/>
            <a:ext cx="6456420" cy="6110378"/>
          </a:xfrm>
          <a:prstGeom prst="rect">
            <a:avLst/>
          </a:prstGeom>
        </p:spPr>
      </p:pic>
      <p:pic>
        <p:nvPicPr>
          <p:cNvPr id="45057" name="Picture 10" descr="STEF_Header_oran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2579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>
              <a:defRPr/>
            </a:pPr>
            <a:r>
              <a:rPr lang="fr-FR" b="1" dirty="0" smtClean="0"/>
              <a:t>Le Projet</a:t>
            </a:r>
            <a:endParaRPr lang="fr-FR" b="1" dirty="0"/>
          </a:p>
        </p:txBody>
      </p:sp>
      <p:grpSp>
        <p:nvGrpSpPr>
          <p:cNvPr id="26" name="Groupe 24"/>
          <p:cNvGrpSpPr>
            <a:grpSpLocks/>
          </p:cNvGrpSpPr>
          <p:nvPr/>
        </p:nvGrpSpPr>
        <p:grpSpPr bwMode="auto">
          <a:xfrm>
            <a:off x="4876800" y="-100471"/>
            <a:ext cx="4740729" cy="915988"/>
            <a:chOff x="488156" y="2402213"/>
            <a:chExt cx="8249726" cy="1831452"/>
          </a:xfrm>
        </p:grpSpPr>
        <p:grpSp>
          <p:nvGrpSpPr>
            <p:cNvPr id="27" name="Groupe 25"/>
            <p:cNvGrpSpPr>
              <a:grpSpLocks/>
            </p:cNvGrpSpPr>
            <p:nvPr/>
          </p:nvGrpSpPr>
          <p:grpSpPr bwMode="auto">
            <a:xfrm>
              <a:off x="681870" y="2912461"/>
              <a:ext cx="8056012" cy="799991"/>
              <a:chOff x="541070" y="2945182"/>
              <a:chExt cx="18915019" cy="1138674"/>
            </a:xfrm>
          </p:grpSpPr>
          <p:sp>
            <p:nvSpPr>
              <p:cNvPr id="29" name="Rectangle 28"/>
              <p:cNvSpPr>
                <a:spLocks noChangeArrowheads="1"/>
              </p:cNvSpPr>
              <p:nvPr/>
            </p:nvSpPr>
            <p:spPr bwMode="auto">
              <a:xfrm>
                <a:off x="541070" y="3011802"/>
                <a:ext cx="18915019" cy="1072054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0" name="ZoneTexte 33"/>
              <p:cNvSpPr txBox="1">
                <a:spLocks noChangeArrowheads="1"/>
              </p:cNvSpPr>
              <p:nvPr/>
            </p:nvSpPr>
            <p:spPr bwMode="auto">
              <a:xfrm>
                <a:off x="3817233" y="2945182"/>
                <a:ext cx="15638856" cy="11386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Périmètres d’action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28" name="Image 3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156" y="2402213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lèche droite à entaille 13"/>
          <p:cNvSpPr/>
          <p:nvPr/>
        </p:nvSpPr>
        <p:spPr>
          <a:xfrm rot="10800000">
            <a:off x="10070800" y="4513621"/>
            <a:ext cx="586065" cy="296883"/>
          </a:xfrm>
          <a:prstGeom prst="notchedRightArrow">
            <a:avLst/>
          </a:prstGeom>
          <a:solidFill>
            <a:srgbClr val="00519E"/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  <a:scene3d>
            <a:camera prst="orthographicFront"/>
            <a:lightRig rig="flood" dir="t">
              <a:rot lat="0" lon="0" rev="3000000"/>
            </a:lightRig>
          </a:scene3d>
          <a:sp3d extrusionH="19050" contourW="19050" prstMaterial="dkEdge">
            <a:bevelT prst="cross"/>
            <a:bevelB prst="relaxedInset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7302823" y="4478994"/>
            <a:ext cx="2223686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Périmètre principal</a:t>
            </a:r>
            <a:endParaRPr lang="fr-FR" dirty="0"/>
          </a:p>
        </p:txBody>
      </p:sp>
      <p:sp>
        <p:nvSpPr>
          <p:cNvPr id="15" name="Flèche droite à entaille 14"/>
          <p:cNvSpPr/>
          <p:nvPr/>
        </p:nvSpPr>
        <p:spPr>
          <a:xfrm rot="10800000">
            <a:off x="10070799" y="5996057"/>
            <a:ext cx="586065" cy="296883"/>
          </a:xfrm>
          <a:prstGeom prst="notchedRightArrow">
            <a:avLst/>
          </a:prstGeom>
          <a:solidFill>
            <a:srgbClr val="00519E"/>
          </a:solidFill>
          <a:ln w="6350" algn="ctr">
            <a:solidFill>
              <a:schemeClr val="bg1"/>
            </a:solidFill>
            <a:round/>
            <a:headEnd/>
            <a:tailEnd/>
          </a:ln>
          <a:effectLst/>
          <a:scene3d>
            <a:camera prst="orthographicFront"/>
            <a:lightRig rig="flood" dir="t">
              <a:rot lat="0" lon="0" rev="3000000"/>
            </a:lightRig>
          </a:scene3d>
          <a:sp3d extrusionH="19050" contourW="19050" prstMaterial="dkEdge">
            <a:bevelT prst="cross"/>
            <a:bevelB prst="relaxedInset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fr-FR" sz="180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160156" y="5948574"/>
            <a:ext cx="250902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Périmètre secondai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6001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4347E-6 3.33333E-6 L -0.45441 -0.0028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29" y="-1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4347E-6 3.33333E-6 L -0.45441 -0.00282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29" y="-1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5" grpId="0"/>
      <p:bldP spid="15" grpId="0" animBg="1"/>
      <p:bldP spid="1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89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0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1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4</a:t>
            </a:r>
          </a:p>
        </p:txBody>
      </p:sp>
      <p:sp>
        <p:nvSpPr>
          <p:cNvPr id="14029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775288" y="4657744"/>
            <a:ext cx="3195638" cy="1306512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dirty="0" smtClean="0">
                <a:solidFill>
                  <a:schemeClr val="bg2"/>
                </a:solidFill>
              </a:rPr>
              <a:t>Macro Planning</a:t>
            </a:r>
            <a:endParaRPr lang="fr-FR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5" name="Picture 8" descr="STEF_Header_v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6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sz="3200" kern="1200" dirty="0" smtClean="0">
                <a:solidFill>
                  <a:schemeClr val="bg1"/>
                </a:solidFill>
                <a:ea typeface="ＭＳ Ｐゴシック" pitchFamily="-106" charset="-128"/>
              </a:rPr>
              <a:t>Macro Planning</a:t>
            </a:r>
            <a:endParaRPr lang="fr-FR" sz="3200" kern="1200" dirty="0">
              <a:solidFill>
                <a:schemeClr val="bg1"/>
              </a:solidFill>
              <a:ea typeface="ＭＳ Ｐゴシック" pitchFamily="-106" charset="-128"/>
            </a:endParaRPr>
          </a:p>
        </p:txBody>
      </p:sp>
      <p:sp>
        <p:nvSpPr>
          <p:cNvPr id="47110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D603929E-E911-4F18-A0AB-1423D208E3FE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27</a:t>
            </a:fld>
            <a:endParaRPr lang="fr-FR" sz="900" b="1">
              <a:solidFill>
                <a:srgbClr val="9B9B9B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431" y="3109503"/>
            <a:ext cx="2559339" cy="1701960"/>
          </a:xfrm>
          <a:prstGeom prst="rect">
            <a:avLst/>
          </a:prstGeom>
        </p:spPr>
      </p:pic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242615" y="1753720"/>
            <a:ext cx="9133159" cy="5016732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S0 – 04/12/2013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Présentation générale du projet</a:t>
            </a:r>
          </a:p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S1 – 17/12/2013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Echanges autour de l’existant</a:t>
            </a:r>
            <a:endParaRPr lang="fr-FR" sz="2000" dirty="0" smtClean="0">
              <a:solidFill>
                <a:schemeClr val="tx2"/>
              </a:solidFill>
            </a:endParaRPr>
          </a:p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S2 – 06/01/2014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Eléments sur les solutions</a:t>
            </a:r>
            <a:endParaRPr lang="fr-FR" sz="2000" dirty="0" smtClean="0">
              <a:solidFill>
                <a:schemeClr val="tx2"/>
              </a:solidFill>
            </a:endParaRPr>
          </a:p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S3 – 15/01/2014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Présentation du scénario de STEF-IT</a:t>
            </a:r>
            <a:endParaRPr lang="fr-FR" sz="2000" dirty="0" smtClean="0">
              <a:solidFill>
                <a:schemeClr val="tx2"/>
              </a:solidFill>
            </a:endParaRPr>
          </a:p>
          <a:p>
            <a:pPr marL="342900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S4 – 24/01/2014</a:t>
            </a: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r>
              <a:rPr lang="fr-FR" sz="2000" b="1" dirty="0" smtClean="0">
                <a:solidFill>
                  <a:schemeClr val="tx2"/>
                </a:solidFill>
              </a:rPr>
              <a:t>Revue Finale</a:t>
            </a:r>
            <a:endParaRPr lang="fr-FR" sz="2000" dirty="0" smtClean="0">
              <a:solidFill>
                <a:schemeClr val="tx2"/>
              </a:solidFill>
            </a:endParaRPr>
          </a:p>
          <a:p>
            <a:pPr marL="1085850" lvl="1" indent="-342900" algn="just" defTabSz="914400" eaLnBrk="1" hangingPunct="1">
              <a:spcBef>
                <a:spcPct val="50000"/>
              </a:spcBef>
              <a:buFont typeface="Arial" pitchFamily="34" charset="0"/>
              <a:buChar char="•"/>
            </a:pPr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76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2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3" name="Rectangle 4"/>
          <p:cNvSpPr>
            <a:spLocks noGrp="1"/>
          </p:cNvSpPr>
          <p:nvPr>
            <p:ph type="ctrTitle"/>
          </p:nvPr>
        </p:nvSpPr>
        <p:spPr>
          <a:xfrm>
            <a:off x="5886179" y="3058469"/>
            <a:ext cx="2343195" cy="957102"/>
          </a:xfrm>
        </p:spPr>
        <p:txBody>
          <a:bodyPr/>
          <a:lstStyle/>
          <a:p>
            <a:pPr eaLnBrk="1" hangingPunct="1"/>
            <a:r>
              <a:rPr lang="fr-FR" sz="12300" dirty="0" smtClean="0">
                <a:solidFill>
                  <a:schemeClr val="bg1"/>
                </a:solidFill>
                <a:latin typeface="+mn-lt"/>
              </a:rPr>
              <a:t>5</a:t>
            </a:r>
          </a:p>
        </p:txBody>
      </p:sp>
      <p:sp>
        <p:nvSpPr>
          <p:cNvPr id="13824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689372" y="4341521"/>
            <a:ext cx="2920245" cy="1311144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3400" b="1" dirty="0" smtClean="0">
                <a:solidFill>
                  <a:schemeClr val="tx1"/>
                </a:solidFill>
              </a:rPr>
              <a:t>Modes d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4957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29" name="Picture 8" descr="STEF_Header_bleufon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0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ea typeface="ＭＳ Ｐゴシック" pitchFamily="-106" charset="-128"/>
              </a:rPr>
              <a:t>Modes de communication</a:t>
            </a:r>
          </a:p>
        </p:txBody>
      </p:sp>
      <p:sp>
        <p:nvSpPr>
          <p:cNvPr id="48134" name="Espace réservé du numéro de diapositive 7"/>
          <p:cNvSpPr txBox="1">
            <a:spLocks noGrp="1"/>
          </p:cNvSpPr>
          <p:nvPr/>
        </p:nvSpPr>
        <p:spPr bwMode="auto">
          <a:xfrm>
            <a:off x="9329317" y="7149747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936F3E3A-3267-443B-8792-DC28143A87CD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29</a:t>
            </a:fld>
            <a:endParaRPr lang="fr-FR" sz="900" b="1">
              <a:solidFill>
                <a:srgbClr val="9B9B9B"/>
              </a:solidFill>
            </a:endParaRPr>
          </a:p>
        </p:txBody>
      </p:sp>
      <p:grpSp>
        <p:nvGrpSpPr>
          <p:cNvPr id="8" name="Groupe 39"/>
          <p:cNvGrpSpPr>
            <a:grpSpLocks/>
          </p:cNvGrpSpPr>
          <p:nvPr/>
        </p:nvGrpSpPr>
        <p:grpSpPr bwMode="auto">
          <a:xfrm>
            <a:off x="324180" y="1499018"/>
            <a:ext cx="5026905" cy="915987"/>
            <a:chOff x="488156" y="2402213"/>
            <a:chExt cx="9528615" cy="1831452"/>
          </a:xfrm>
        </p:grpSpPr>
        <p:grpSp>
          <p:nvGrpSpPr>
            <p:cNvPr id="9" name="Groupe 40"/>
            <p:cNvGrpSpPr>
              <a:grpSpLocks/>
            </p:cNvGrpSpPr>
            <p:nvPr/>
          </p:nvGrpSpPr>
          <p:grpSpPr bwMode="auto">
            <a:xfrm>
              <a:off x="681872" y="2891916"/>
              <a:ext cx="9334899" cy="799992"/>
              <a:chOff x="541074" y="2915941"/>
              <a:chExt cx="21917768" cy="1138676"/>
            </a:xfrm>
          </p:grpSpPr>
          <p:sp>
            <p:nvSpPr>
              <p:cNvPr id="11" name="Rectangle 10"/>
              <p:cNvSpPr>
                <a:spLocks noChangeArrowheads="1"/>
              </p:cNvSpPr>
              <p:nvPr/>
            </p:nvSpPr>
            <p:spPr bwMode="auto">
              <a:xfrm>
                <a:off x="541074" y="3011800"/>
                <a:ext cx="21917768" cy="1021038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" name="ZoneTexte 43"/>
              <p:cNvSpPr txBox="1">
                <a:spLocks noChangeArrowheads="1"/>
              </p:cNvSpPr>
              <p:nvPr/>
            </p:nvSpPr>
            <p:spPr bwMode="auto">
              <a:xfrm>
                <a:off x="3817221" y="2915941"/>
                <a:ext cx="17931172" cy="11386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Mails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10" name="Image 4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156" y="2402213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1426626" y="2489991"/>
            <a:ext cx="3486234" cy="400083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just" defTabSz="914400" eaLnBrk="1" hangingPunct="1">
              <a:spcBef>
                <a:spcPct val="50000"/>
              </a:spcBef>
            </a:pPr>
            <a:r>
              <a:rPr lang="en-US" sz="2000" b="1" dirty="0" smtClean="0">
                <a:solidFill>
                  <a:schemeClr val="tx2"/>
                </a:solidFill>
                <a:hlinkClick r:id="rId4"/>
              </a:rPr>
              <a:t>damien.lornage@stef.com </a:t>
            </a:r>
            <a:endParaRPr lang="en-US" sz="2000" b="1" dirty="0" smtClean="0">
              <a:solidFill>
                <a:schemeClr val="tx2"/>
              </a:solidFill>
            </a:endParaRPr>
          </a:p>
        </p:txBody>
      </p:sp>
      <p:grpSp>
        <p:nvGrpSpPr>
          <p:cNvPr id="14" name="Groupe 39"/>
          <p:cNvGrpSpPr>
            <a:grpSpLocks/>
          </p:cNvGrpSpPr>
          <p:nvPr/>
        </p:nvGrpSpPr>
        <p:grpSpPr bwMode="auto">
          <a:xfrm>
            <a:off x="324180" y="3111293"/>
            <a:ext cx="5026905" cy="915987"/>
            <a:chOff x="488156" y="2402213"/>
            <a:chExt cx="9528615" cy="1831452"/>
          </a:xfrm>
        </p:grpSpPr>
        <p:grpSp>
          <p:nvGrpSpPr>
            <p:cNvPr id="15" name="Groupe 40"/>
            <p:cNvGrpSpPr>
              <a:grpSpLocks/>
            </p:cNvGrpSpPr>
            <p:nvPr/>
          </p:nvGrpSpPr>
          <p:grpSpPr bwMode="auto">
            <a:xfrm>
              <a:off x="681872" y="2891916"/>
              <a:ext cx="9334899" cy="799992"/>
              <a:chOff x="541074" y="2915941"/>
              <a:chExt cx="21917768" cy="1138676"/>
            </a:xfrm>
          </p:grpSpPr>
          <p:sp>
            <p:nvSpPr>
              <p:cNvPr id="17" name="Rectangle 16"/>
              <p:cNvSpPr>
                <a:spLocks noChangeArrowheads="1"/>
              </p:cNvSpPr>
              <p:nvPr/>
            </p:nvSpPr>
            <p:spPr bwMode="auto">
              <a:xfrm>
                <a:off x="541074" y="3011800"/>
                <a:ext cx="21917768" cy="1021038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8" name="ZoneTexte 43"/>
              <p:cNvSpPr txBox="1">
                <a:spLocks noChangeArrowheads="1"/>
              </p:cNvSpPr>
              <p:nvPr/>
            </p:nvSpPr>
            <p:spPr bwMode="auto">
              <a:xfrm>
                <a:off x="3817221" y="2915941"/>
                <a:ext cx="17931172" cy="11386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Echanges téléphoniques (planifiés)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16" name="Image 4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156" y="2402213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e 39"/>
          <p:cNvGrpSpPr>
            <a:grpSpLocks/>
          </p:cNvGrpSpPr>
          <p:nvPr/>
        </p:nvGrpSpPr>
        <p:grpSpPr bwMode="auto">
          <a:xfrm>
            <a:off x="316949" y="4843111"/>
            <a:ext cx="5026905" cy="915987"/>
            <a:chOff x="488156" y="2402213"/>
            <a:chExt cx="9528615" cy="1831452"/>
          </a:xfrm>
        </p:grpSpPr>
        <p:grpSp>
          <p:nvGrpSpPr>
            <p:cNvPr id="20" name="Groupe 40"/>
            <p:cNvGrpSpPr>
              <a:grpSpLocks/>
            </p:cNvGrpSpPr>
            <p:nvPr/>
          </p:nvGrpSpPr>
          <p:grpSpPr bwMode="auto">
            <a:xfrm>
              <a:off x="681872" y="2891916"/>
              <a:ext cx="9334899" cy="799992"/>
              <a:chOff x="541074" y="2915941"/>
              <a:chExt cx="21917768" cy="1138676"/>
            </a:xfrm>
          </p:grpSpPr>
          <p:sp>
            <p:nvSpPr>
              <p:cNvPr id="22" name="Rectangle 21"/>
              <p:cNvSpPr>
                <a:spLocks noChangeArrowheads="1"/>
              </p:cNvSpPr>
              <p:nvPr/>
            </p:nvSpPr>
            <p:spPr bwMode="auto">
              <a:xfrm>
                <a:off x="541074" y="3011800"/>
                <a:ext cx="21917768" cy="1021038"/>
              </a:xfrm>
              <a:prstGeom prst="rect">
                <a:avLst/>
              </a:prstGeom>
              <a:gradFill rotWithShape="1">
                <a:gsLst>
                  <a:gs pos="0">
                    <a:srgbClr val="A6A6A6"/>
                  </a:gs>
                  <a:gs pos="50000">
                    <a:srgbClr val="D9D9D9"/>
                  </a:gs>
                  <a:gs pos="100000">
                    <a:srgbClr val="F2F2F2"/>
                  </a:gs>
                </a:gsLst>
                <a:lin ang="16200000" scaled="1"/>
              </a:gra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39999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 defTabSz="97529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600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3" name="ZoneTexte 43"/>
              <p:cNvSpPr txBox="1">
                <a:spLocks noChangeArrowheads="1"/>
              </p:cNvSpPr>
              <p:nvPr/>
            </p:nvSpPr>
            <p:spPr bwMode="auto">
              <a:xfrm>
                <a:off x="3817221" y="2915941"/>
                <a:ext cx="17931172" cy="11386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1pPr>
                <a:lvl2pPr marL="742950" indent="-28575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2pPr>
                <a:lvl3pPr marL="11430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3pPr>
                <a:lvl4pPr marL="16002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4pPr>
                <a:lvl5pPr marL="2057400" indent="-228600" eaLnBrk="0" hangingPunct="0"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5pPr>
                <a:lvl6pPr marL="25146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6pPr>
                <a:lvl7pPr marL="29718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7pPr>
                <a:lvl8pPr marL="34290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8pPr>
                <a:lvl9pPr marL="3886200" indent="-228600" defTabSz="974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charset="0"/>
                    <a:ea typeface="ＭＳ Ｐゴシック" pitchFamily="-106" charset="-128"/>
                  </a:defRPr>
                </a:lvl9pPr>
              </a:lstStyle>
              <a:p>
                <a:pPr eaLnBrk="1" hangingPunct="1"/>
                <a:r>
                  <a:rPr lang="fr-FR" sz="2000" b="1" dirty="0" smtClean="0">
                    <a:solidFill>
                      <a:srgbClr val="00519E"/>
                    </a:solidFill>
                    <a:latin typeface="Arial Narrow" pitchFamily="34" charset="0"/>
                  </a:rPr>
                  <a:t>Espace documentaire</a:t>
                </a:r>
                <a:endParaRPr lang="fr-FR" sz="2000" b="1" dirty="0">
                  <a:solidFill>
                    <a:srgbClr val="00519E"/>
                  </a:solidFill>
                  <a:latin typeface="Arial Narrow" pitchFamily="34" charset="0"/>
                </a:endParaRPr>
              </a:p>
            </p:txBody>
          </p:sp>
        </p:grpSp>
        <p:pic>
          <p:nvPicPr>
            <p:cNvPr id="21" name="Image 4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156" y="2402213"/>
              <a:ext cx="1831452" cy="183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Text Box 2"/>
          <p:cNvSpPr txBox="1">
            <a:spLocks noChangeArrowheads="1"/>
          </p:cNvSpPr>
          <p:nvPr/>
        </p:nvSpPr>
        <p:spPr bwMode="auto">
          <a:xfrm>
            <a:off x="1426626" y="4280158"/>
            <a:ext cx="9133159" cy="400083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just" defTabSz="914400" eaLnBrk="1" hangingPunct="1">
              <a:spcBef>
                <a:spcPct val="50000"/>
              </a:spcBef>
            </a:pPr>
            <a:r>
              <a:rPr lang="en-US" sz="2000" b="1" dirty="0" smtClean="0">
                <a:solidFill>
                  <a:schemeClr val="tx2"/>
                </a:solidFill>
              </a:rPr>
              <a:t>+334 26 19 59 30 </a:t>
            </a:r>
            <a:r>
              <a:rPr lang="en-US" sz="2000" b="1" dirty="0" err="1" smtClean="0">
                <a:solidFill>
                  <a:schemeClr val="tx2"/>
                </a:solidFill>
              </a:rPr>
              <a:t>ou</a:t>
            </a:r>
            <a:r>
              <a:rPr lang="en-US" sz="2000" b="1" dirty="0" smtClean="0">
                <a:solidFill>
                  <a:schemeClr val="tx2"/>
                </a:solidFill>
              </a:rPr>
              <a:t> +336 29 47 41 56</a:t>
            </a:r>
          </a:p>
        </p:txBody>
      </p:sp>
      <p:sp>
        <p:nvSpPr>
          <p:cNvPr id="25" name="Text Box 2"/>
          <p:cNvSpPr txBox="1">
            <a:spLocks noChangeArrowheads="1"/>
          </p:cNvSpPr>
          <p:nvPr/>
        </p:nvSpPr>
        <p:spPr bwMode="auto">
          <a:xfrm>
            <a:off x="1426624" y="5752857"/>
            <a:ext cx="9133159" cy="723249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just" defTabSz="914400" eaLnBrk="1" hangingPunct="1">
              <a:spcBef>
                <a:spcPct val="50000"/>
              </a:spcBef>
            </a:pPr>
            <a:r>
              <a:rPr lang="en-US" sz="2000" b="1" dirty="0" smtClean="0">
                <a:solidFill>
                  <a:schemeClr val="tx2"/>
                </a:solidFill>
                <a:hlinkClick r:id="rId5"/>
              </a:rPr>
              <a:t>http://moodle.insa-lyon.fr</a:t>
            </a:r>
            <a:endParaRPr lang="en-US" sz="2000" b="1" dirty="0" smtClean="0">
              <a:solidFill>
                <a:schemeClr val="tx2"/>
              </a:solidFill>
            </a:endParaRPr>
          </a:p>
          <a:p>
            <a:pPr algn="just" defTabSz="914400" eaLnBrk="1" hangingPunct="1">
              <a:spcBef>
                <a:spcPct val="50000"/>
              </a:spcBef>
            </a:pPr>
            <a:r>
              <a:rPr lang="fr-FR" sz="1400" i="1" dirty="0" smtClean="0"/>
              <a:t>IF-Informatique </a:t>
            </a:r>
            <a:r>
              <a:rPr lang="fr-FR" sz="1400" i="1" dirty="0"/>
              <a:t>-&gt; espace </a:t>
            </a:r>
            <a:r>
              <a:rPr lang="fr-FR" sz="1400" i="1" dirty="0" err="1"/>
              <a:t>pedagogique</a:t>
            </a:r>
            <a:r>
              <a:rPr lang="fr-FR" sz="1400" i="1" dirty="0"/>
              <a:t> -&gt; 5IF -&gt; projets -&gt; projet de </a:t>
            </a:r>
            <a:r>
              <a:rPr lang="fr-FR" sz="1400" i="1" dirty="0" smtClean="0"/>
              <a:t>conception -&gt; </a:t>
            </a:r>
            <a:r>
              <a:rPr lang="fr-FR" sz="1400" dirty="0" err="1"/>
              <a:t>strategie</a:t>
            </a:r>
            <a:r>
              <a:rPr lang="fr-FR" sz="1400" dirty="0"/>
              <a:t> de mutation</a:t>
            </a:r>
            <a:r>
              <a:rPr lang="fr-FR" sz="1400" i="1" dirty="0" smtClean="0"/>
              <a:t> </a:t>
            </a:r>
            <a:endParaRPr lang="en-US" sz="1400" b="1" i="1" dirty="0" smtClean="0">
              <a:solidFill>
                <a:schemeClr val="tx2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243" y="3968790"/>
            <a:ext cx="898071" cy="898071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559" y="2292948"/>
            <a:ext cx="848820" cy="794168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12" y="5864635"/>
            <a:ext cx="856472" cy="63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888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5" name="Imag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6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7"/>
          <p:cNvSpPr txBox="1">
            <a:spLocks/>
          </p:cNvSpPr>
          <p:nvPr/>
        </p:nvSpPr>
        <p:spPr bwMode="auto">
          <a:xfrm>
            <a:off x="5779195" y="2814185"/>
            <a:ext cx="2613025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530" tIns="48765" rIns="97530" bIns="48765" numCol="1" anchor="ctr" anchorCtr="0" compatLnSpc="1">
            <a:prstTxWarp prst="textNoShape">
              <a:avLst/>
            </a:prstTxWarp>
          </a:bodyPr>
          <a:lstStyle>
            <a:lvl1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 Narrow" charset="0"/>
                <a:ea typeface="ＭＳ Ｐゴシック" charset="0"/>
                <a:cs typeface="+mj-cs"/>
              </a:defRPr>
            </a:lvl1pPr>
            <a:lvl2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2pPr>
            <a:lvl3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3pPr>
            <a:lvl4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4pPr>
            <a:lvl5pPr algn="l" defTabSz="974725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5pPr>
            <a:lvl6pPr marL="4572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6pPr>
            <a:lvl7pPr marL="9144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7pPr>
            <a:lvl8pPr marL="13716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8pPr>
            <a:lvl9pPr marL="1828800" algn="l" defTabSz="974725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 Narrow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2300" dirty="0" smtClean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subTitle" idx="1"/>
          </p:nvPr>
        </p:nvSpPr>
        <p:spPr>
          <a:xfrm>
            <a:off x="5779195" y="4539596"/>
            <a:ext cx="3078202" cy="1391365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fr-FR" sz="3400" b="1" dirty="0" smtClean="0">
                <a:solidFill>
                  <a:srgbClr val="00519E"/>
                </a:solidFill>
                <a:ea typeface="+mn-ea"/>
              </a:rPr>
              <a:t>STEF</a:t>
            </a:r>
          </a:p>
          <a:p>
            <a:pPr eaLnBrk="1" hangingPunct="1">
              <a:defRPr/>
            </a:pPr>
            <a:endParaRPr lang="fr-FR" sz="3400" b="1" dirty="0">
              <a:solidFill>
                <a:srgbClr val="00519E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1322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5"/>
          <p:cNvSpPr>
            <a:spLocks noGrp="1"/>
          </p:cNvSpPr>
          <p:nvPr>
            <p:ph type="ctrTitle"/>
          </p:nvPr>
        </p:nvSpPr>
        <p:spPr>
          <a:xfrm>
            <a:off x="1816285" y="5749998"/>
            <a:ext cx="8309454" cy="1001677"/>
          </a:xfrm>
        </p:spPr>
        <p:txBody>
          <a:bodyPr/>
          <a:lstStyle/>
          <a:p>
            <a:pPr eaLnBrk="1" hangingPunct="1"/>
            <a:r>
              <a:rPr lang="fr-FR" sz="4800" b="1" dirty="0" smtClean="0">
                <a:latin typeface="Arial Narrow" pitchFamily="34" charset="0"/>
                <a:ea typeface="ＭＳ Ｐゴシック" pitchFamily="-106" charset="-128"/>
              </a:rPr>
              <a:t>Merci pour votre attention</a:t>
            </a:r>
          </a:p>
        </p:txBody>
      </p:sp>
    </p:spTree>
    <p:extLst>
      <p:ext uri="{BB962C8B-B14F-4D97-AF65-F5344CB8AC3E}">
        <p14:creationId xmlns:p14="http://schemas.microsoft.com/office/powerpoint/2010/main" val="2564059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sp>
        <p:nvSpPr>
          <p:cNvPr id="46086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5826E283-9C57-41CB-98DC-F451E9BA9523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4</a:t>
            </a:fld>
            <a:endParaRPr lang="fr-FR" sz="900" b="1" dirty="0">
              <a:solidFill>
                <a:srgbClr val="9B9B9B"/>
              </a:solidFill>
            </a:endParaRP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Le groupe STEF (1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2"/>
          <p:cNvSpPr txBox="1">
            <a:spLocks noChangeArrowheads="1"/>
          </p:cNvSpPr>
          <p:nvPr/>
        </p:nvSpPr>
        <p:spPr bwMode="auto">
          <a:xfrm>
            <a:off x="2589460" y="1339674"/>
            <a:ext cx="3124200" cy="1292225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l" defTabSz="914400" eaLnBrk="1" hangingPunct="1">
              <a:spcBef>
                <a:spcPct val="50000"/>
              </a:spcBef>
            </a:pPr>
            <a:r>
              <a:rPr lang="en-US" sz="4900" b="1" dirty="0">
                <a:solidFill>
                  <a:schemeClr val="tx2"/>
                </a:solidFill>
              </a:rPr>
              <a:t>S</a:t>
            </a:r>
            <a:r>
              <a:rPr lang="en-US" sz="3700" dirty="0">
                <a:solidFill>
                  <a:schemeClr val="tx2"/>
                </a:solidFill>
              </a:rPr>
              <a:t>upply Chain</a:t>
            </a:r>
            <a:br>
              <a:rPr lang="en-US" sz="3700" dirty="0">
                <a:solidFill>
                  <a:schemeClr val="tx2"/>
                </a:solidFill>
              </a:rPr>
            </a:br>
            <a:r>
              <a:rPr lang="en-US" sz="2900" dirty="0" err="1">
                <a:solidFill>
                  <a:schemeClr val="tx2"/>
                </a:solidFill>
              </a:rPr>
              <a:t>une</a:t>
            </a:r>
            <a:r>
              <a:rPr lang="en-US" sz="2900" dirty="0">
                <a:solidFill>
                  <a:schemeClr val="tx2"/>
                </a:solidFill>
              </a:rPr>
              <a:t> expertise</a:t>
            </a:r>
          </a:p>
        </p:txBody>
      </p:sp>
      <p:pic>
        <p:nvPicPr>
          <p:cNvPr id="27" name="Picture 17" descr="visuels SC for European Food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592" r="43182" b="23352"/>
          <a:stretch>
            <a:fillRect/>
          </a:stretch>
        </p:blipFill>
        <p:spPr bwMode="auto">
          <a:xfrm>
            <a:off x="3592267" y="4352977"/>
            <a:ext cx="1844675" cy="137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8" descr="visuels SC for European Foo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8849" y="5669015"/>
            <a:ext cx="1533525" cy="89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9" descr="PD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853" y="2147225"/>
            <a:ext cx="1335087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0" descr="entrepot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22" y="1288874"/>
            <a:ext cx="207486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 Box 11"/>
          <p:cNvSpPr txBox="1">
            <a:spLocks noChangeArrowheads="1"/>
          </p:cNvSpPr>
          <p:nvPr/>
        </p:nvSpPr>
        <p:spPr bwMode="auto">
          <a:xfrm>
            <a:off x="7034878" y="2364713"/>
            <a:ext cx="3217862" cy="846137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l" defTabSz="914400" eaLnBrk="1" hangingPunct="1">
              <a:spcBef>
                <a:spcPct val="50000"/>
              </a:spcBef>
            </a:pPr>
            <a:r>
              <a:rPr lang="en-US" sz="4900" b="1" dirty="0" err="1">
                <a:solidFill>
                  <a:srgbClr val="FFAC47"/>
                </a:solidFill>
              </a:rPr>
              <a:t>T</a:t>
            </a:r>
            <a:r>
              <a:rPr lang="en-US" sz="3700" dirty="0" err="1">
                <a:solidFill>
                  <a:srgbClr val="FFAC47"/>
                </a:solidFill>
              </a:rPr>
              <a:t>raçabilité</a:t>
            </a:r>
            <a:endParaRPr lang="en-US" sz="3700" dirty="0">
              <a:solidFill>
                <a:srgbClr val="FFAC47"/>
              </a:solidFill>
            </a:endParaRPr>
          </a:p>
        </p:txBody>
      </p:sp>
      <p:pic>
        <p:nvPicPr>
          <p:cNvPr id="32" name="Picture 22" descr="7380ad89-17a9-4c6b-88dc-f74f5a4300a4@ste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1210" y="3410640"/>
            <a:ext cx="1474787" cy="133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3" descr="c18397f3-e79f-47ef-8cd8-933c32a647ee@ste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22" y="3426515"/>
            <a:ext cx="1265238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4" descr="222d555d-050c-4439-ac68-40bf3ea4f77c@ste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85" y="3429690"/>
            <a:ext cx="1352550" cy="133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5" descr="22ac1ced-c066-40ca-86c0-95e1a796584c@stef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710" y="3415402"/>
            <a:ext cx="1182687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 Box 13"/>
          <p:cNvSpPr txBox="1">
            <a:spLocks noChangeArrowheads="1"/>
          </p:cNvSpPr>
          <p:nvPr/>
        </p:nvSpPr>
        <p:spPr bwMode="auto">
          <a:xfrm>
            <a:off x="1108322" y="4376790"/>
            <a:ext cx="2703513" cy="1292225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l" defTabSz="914400" eaLnBrk="1" hangingPunct="1">
              <a:spcBef>
                <a:spcPct val="50000"/>
              </a:spcBef>
            </a:pPr>
            <a:r>
              <a:rPr lang="en-US" sz="4900" b="1" dirty="0"/>
              <a:t>E</a:t>
            </a:r>
            <a:r>
              <a:rPr lang="en-US" sz="3700" dirty="0"/>
              <a:t>urope</a:t>
            </a:r>
            <a:br>
              <a:rPr lang="en-US" sz="3700" dirty="0"/>
            </a:br>
            <a:r>
              <a:rPr lang="en-US" sz="2900" dirty="0" err="1"/>
              <a:t>notre</a:t>
            </a:r>
            <a:r>
              <a:rPr lang="en-US" sz="2900" dirty="0"/>
              <a:t> </a:t>
            </a:r>
            <a:r>
              <a:rPr lang="en-US" sz="2900" dirty="0" err="1"/>
              <a:t>pré-carré</a:t>
            </a:r>
            <a:endParaRPr lang="en-US" sz="2900" dirty="0"/>
          </a:p>
        </p:txBody>
      </p:sp>
      <p:sp>
        <p:nvSpPr>
          <p:cNvPr id="37" name="Text Box 12"/>
          <p:cNvSpPr txBox="1">
            <a:spLocks noChangeArrowheads="1"/>
          </p:cNvSpPr>
          <p:nvPr/>
        </p:nvSpPr>
        <p:spPr bwMode="auto">
          <a:xfrm>
            <a:off x="5409824" y="5491215"/>
            <a:ext cx="2744787" cy="1292225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l" defTabSz="914400" eaLnBrk="1" hangingPunct="1">
              <a:spcBef>
                <a:spcPct val="50000"/>
              </a:spcBef>
            </a:pPr>
            <a:r>
              <a:rPr lang="en-US" sz="4900" b="1" dirty="0" err="1">
                <a:solidFill>
                  <a:schemeClr val="bg2"/>
                </a:solidFill>
              </a:rPr>
              <a:t>F</a:t>
            </a:r>
            <a:r>
              <a:rPr lang="en-US" sz="3700" dirty="0" err="1">
                <a:solidFill>
                  <a:schemeClr val="bg2"/>
                </a:solidFill>
              </a:rPr>
              <a:t>roid</a:t>
            </a:r>
            <a:r>
              <a:rPr lang="en-US" sz="3700" dirty="0">
                <a:solidFill>
                  <a:schemeClr val="bg2"/>
                </a:solidFill>
              </a:rPr>
              <a:t/>
            </a:r>
            <a:br>
              <a:rPr lang="en-US" sz="3700" dirty="0">
                <a:solidFill>
                  <a:schemeClr val="bg2"/>
                </a:solidFill>
              </a:rPr>
            </a:br>
            <a:r>
              <a:rPr lang="en-US" sz="2900" dirty="0" err="1">
                <a:solidFill>
                  <a:schemeClr val="bg2"/>
                </a:solidFill>
              </a:rPr>
              <a:t>notre</a:t>
            </a:r>
            <a:r>
              <a:rPr lang="en-US" sz="2900" dirty="0">
                <a:solidFill>
                  <a:schemeClr val="bg2"/>
                </a:solidFill>
              </a:rPr>
              <a:t> </a:t>
            </a:r>
            <a:r>
              <a:rPr lang="en-US" sz="2900" dirty="0" err="1">
                <a:solidFill>
                  <a:schemeClr val="bg2"/>
                </a:solidFill>
              </a:rPr>
              <a:t>spécialité</a:t>
            </a:r>
            <a:endParaRPr lang="en-US" sz="29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72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path" presetSubtype="0" accel="50000" decel="5000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64735E-6 -4.79167E-6 L -0.0083 -0.32031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3" y="-1601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55" presetClass="exit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9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12927E-6 -2.84722E-6 L -0.09411 0.24805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05" y="12391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55" presetClass="exit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9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63758E-6 -4.65278E-6 L -0.38701 0.09072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359" y="453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55" presetClass="exit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6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9935E-6 -2.84722E-6 L 0.33067 -0.18511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526" y="-926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5" presetClass="exit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1" grpId="0"/>
      <p:bldP spid="36" grpId="0"/>
      <p:bldP spid="3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2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sp>
        <p:nvSpPr>
          <p:cNvPr id="46086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5826E283-9C57-41CB-98DC-F451E9BA9523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5</a:t>
            </a:fld>
            <a:endParaRPr lang="fr-FR" sz="900" b="1">
              <a:solidFill>
                <a:srgbClr val="9B9B9B"/>
              </a:solidFill>
            </a:endParaRP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>
                  <a:solidFill>
                    <a:srgbClr val="00519E"/>
                  </a:solidFill>
                  <a:latin typeface="Arial Narrow" pitchFamily="34" charset="0"/>
                </a:rPr>
                <a:t>Le groupe STEF </a:t>
              </a:r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(2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23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661"/>
          <a:stretch>
            <a:fillRect/>
          </a:stretch>
        </p:blipFill>
        <p:spPr bwMode="auto">
          <a:xfrm>
            <a:off x="3994150" y="968375"/>
            <a:ext cx="5722938" cy="601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22"/>
          <p:cNvGrpSpPr>
            <a:grpSpLocks/>
          </p:cNvGrpSpPr>
          <p:nvPr/>
        </p:nvGrpSpPr>
        <p:grpSpPr bwMode="auto">
          <a:xfrm>
            <a:off x="3205163" y="5891213"/>
            <a:ext cx="974725" cy="762000"/>
            <a:chOff x="1893" y="3479"/>
            <a:chExt cx="575" cy="450"/>
          </a:xfrm>
        </p:grpSpPr>
        <p:sp>
          <p:nvSpPr>
            <p:cNvPr id="17" name="Freeform 180"/>
            <p:cNvSpPr>
              <a:spLocks noChangeAspect="1"/>
            </p:cNvSpPr>
            <p:nvPr>
              <p:custDataLst>
                <p:tags r:id="rId226"/>
              </p:custDataLst>
            </p:nvPr>
          </p:nvSpPr>
          <p:spPr bwMode="auto">
            <a:xfrm>
              <a:off x="2340" y="3479"/>
              <a:ext cx="128" cy="450"/>
            </a:xfrm>
            <a:custGeom>
              <a:avLst/>
              <a:gdLst>
                <a:gd name="T0" fmla="*/ 0 w 174"/>
                <a:gd name="T1" fmla="*/ 0 h 361"/>
                <a:gd name="T2" fmla="*/ 1841308 w 174"/>
                <a:gd name="T3" fmla="*/ 2147483647 h 361"/>
                <a:gd name="T4" fmla="*/ 1841308 w 174"/>
                <a:gd name="T5" fmla="*/ 2147483647 h 361"/>
                <a:gd name="T6" fmla="*/ 0 60000 65536"/>
                <a:gd name="T7" fmla="*/ 0 60000 65536"/>
                <a:gd name="T8" fmla="*/ 0 60000 65536"/>
                <a:gd name="T9" fmla="*/ 0 w 174"/>
                <a:gd name="T10" fmla="*/ 0 h 361"/>
                <a:gd name="T11" fmla="*/ 174 w 174"/>
                <a:gd name="T12" fmla="*/ 361 h 36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4" h="361">
                  <a:moveTo>
                    <a:pt x="0" y="0"/>
                  </a:moveTo>
                  <a:lnTo>
                    <a:pt x="174" y="100"/>
                  </a:lnTo>
                  <a:lnTo>
                    <a:pt x="174" y="361"/>
                  </a:lnTo>
                </a:path>
              </a:pathLst>
            </a:custGeom>
            <a:noFill/>
            <a:ln w="19050">
              <a:solidFill>
                <a:srgbClr val="DDDDD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8" name="Freeform 90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1936" y="3698"/>
              <a:ext cx="36" cy="51"/>
            </a:xfrm>
            <a:custGeom>
              <a:avLst/>
              <a:gdLst>
                <a:gd name="T0" fmla="*/ 9 w 38"/>
                <a:gd name="T1" fmla="*/ 0 h 54"/>
                <a:gd name="T2" fmla="*/ 9 w 38"/>
                <a:gd name="T3" fmla="*/ 0 h 54"/>
                <a:gd name="T4" fmla="*/ 9 w 38"/>
                <a:gd name="T5" fmla="*/ 1 h 54"/>
                <a:gd name="T6" fmla="*/ 9 w 38"/>
                <a:gd name="T7" fmla="*/ 1 h 54"/>
                <a:gd name="T8" fmla="*/ 9 w 38"/>
                <a:gd name="T9" fmla="*/ 2 h 54"/>
                <a:gd name="T10" fmla="*/ 7 w 38"/>
                <a:gd name="T11" fmla="*/ 4 h 54"/>
                <a:gd name="T12" fmla="*/ 6 w 38"/>
                <a:gd name="T13" fmla="*/ 4 h 54"/>
                <a:gd name="T14" fmla="*/ 4 w 38"/>
                <a:gd name="T15" fmla="*/ 6 h 54"/>
                <a:gd name="T16" fmla="*/ 3 w 38"/>
                <a:gd name="T17" fmla="*/ 7 h 54"/>
                <a:gd name="T18" fmla="*/ 2 w 38"/>
                <a:gd name="T19" fmla="*/ 8 h 54"/>
                <a:gd name="T20" fmla="*/ 1 w 38"/>
                <a:gd name="T21" fmla="*/ 9 h 54"/>
                <a:gd name="T22" fmla="*/ 1 w 38"/>
                <a:gd name="T23" fmla="*/ 9 h 54"/>
                <a:gd name="T24" fmla="*/ 0 w 38"/>
                <a:gd name="T25" fmla="*/ 9 h 54"/>
                <a:gd name="T26" fmla="*/ 1 w 38"/>
                <a:gd name="T27" fmla="*/ 9 h 54"/>
                <a:gd name="T28" fmla="*/ 2 w 38"/>
                <a:gd name="T29" fmla="*/ 9 h 54"/>
                <a:gd name="T30" fmla="*/ 3 w 38"/>
                <a:gd name="T31" fmla="*/ 9 h 54"/>
                <a:gd name="T32" fmla="*/ 4 w 38"/>
                <a:gd name="T33" fmla="*/ 9 h 54"/>
                <a:gd name="T34" fmla="*/ 8 w 38"/>
                <a:gd name="T35" fmla="*/ 11 h 54"/>
                <a:gd name="T36" fmla="*/ 9 w 38"/>
                <a:gd name="T37" fmla="*/ 15 h 54"/>
                <a:gd name="T38" fmla="*/ 9 w 38"/>
                <a:gd name="T39" fmla="*/ 15 h 54"/>
                <a:gd name="T40" fmla="*/ 9 w 38"/>
                <a:gd name="T41" fmla="*/ 16 h 54"/>
                <a:gd name="T42" fmla="*/ 9 w 38"/>
                <a:gd name="T43" fmla="*/ 16 h 54"/>
                <a:gd name="T44" fmla="*/ 9 w 38"/>
                <a:gd name="T45" fmla="*/ 16 h 54"/>
                <a:gd name="T46" fmla="*/ 9 w 38"/>
                <a:gd name="T47" fmla="*/ 16 h 54"/>
                <a:gd name="T48" fmla="*/ 9 w 38"/>
                <a:gd name="T49" fmla="*/ 15 h 54"/>
                <a:gd name="T50" fmla="*/ 9 w 38"/>
                <a:gd name="T51" fmla="*/ 15 h 54"/>
                <a:gd name="T52" fmla="*/ 9 w 38"/>
                <a:gd name="T53" fmla="*/ 15 h 54"/>
                <a:gd name="T54" fmla="*/ 9 w 38"/>
                <a:gd name="T55" fmla="*/ 11 h 54"/>
                <a:gd name="T56" fmla="*/ 9 w 38"/>
                <a:gd name="T57" fmla="*/ 9 h 54"/>
                <a:gd name="T58" fmla="*/ 9 w 38"/>
                <a:gd name="T59" fmla="*/ 9 h 54"/>
                <a:gd name="T60" fmla="*/ 9 w 38"/>
                <a:gd name="T61" fmla="*/ 9 h 54"/>
                <a:gd name="T62" fmla="*/ 10 w 38"/>
                <a:gd name="T63" fmla="*/ 9 h 54"/>
                <a:gd name="T64" fmla="*/ 10 w 38"/>
                <a:gd name="T65" fmla="*/ 9 h 54"/>
                <a:gd name="T66" fmla="*/ 10 w 38"/>
                <a:gd name="T67" fmla="*/ 9 h 54"/>
                <a:gd name="T68" fmla="*/ 9 w 38"/>
                <a:gd name="T69" fmla="*/ 9 h 54"/>
                <a:gd name="T70" fmla="*/ 9 w 38"/>
                <a:gd name="T71" fmla="*/ 9 h 54"/>
                <a:gd name="T72" fmla="*/ 9 w 38"/>
                <a:gd name="T73" fmla="*/ 7 h 54"/>
                <a:gd name="T74" fmla="*/ 9 w 38"/>
                <a:gd name="T75" fmla="*/ 4 h 54"/>
                <a:gd name="T76" fmla="*/ 9 w 38"/>
                <a:gd name="T77" fmla="*/ 2 h 54"/>
                <a:gd name="T78" fmla="*/ 9 w 38"/>
                <a:gd name="T79" fmla="*/ 1 h 54"/>
                <a:gd name="T80" fmla="*/ 9 w 38"/>
                <a:gd name="T81" fmla="*/ 0 h 5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8"/>
                <a:gd name="T124" fmla="*/ 0 h 54"/>
                <a:gd name="T125" fmla="*/ 38 w 38"/>
                <a:gd name="T126" fmla="*/ 54 h 5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8" h="54">
                  <a:moveTo>
                    <a:pt x="25" y="0"/>
                  </a:moveTo>
                  <a:lnTo>
                    <a:pt x="21" y="0"/>
                  </a:lnTo>
                  <a:lnTo>
                    <a:pt x="16" y="1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7"/>
                  </a:lnTo>
                  <a:lnTo>
                    <a:pt x="2" y="8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0" y="14"/>
                  </a:lnTo>
                  <a:lnTo>
                    <a:pt x="1" y="19"/>
                  </a:lnTo>
                  <a:lnTo>
                    <a:pt x="2" y="24"/>
                  </a:lnTo>
                  <a:lnTo>
                    <a:pt x="3" y="28"/>
                  </a:lnTo>
                  <a:lnTo>
                    <a:pt x="4" y="32"/>
                  </a:lnTo>
                  <a:lnTo>
                    <a:pt x="8" y="41"/>
                  </a:lnTo>
                  <a:lnTo>
                    <a:pt x="12" y="51"/>
                  </a:lnTo>
                  <a:lnTo>
                    <a:pt x="13" y="52"/>
                  </a:lnTo>
                  <a:lnTo>
                    <a:pt x="15" y="54"/>
                  </a:lnTo>
                  <a:lnTo>
                    <a:pt x="17" y="54"/>
                  </a:lnTo>
                  <a:lnTo>
                    <a:pt x="19" y="54"/>
                  </a:lnTo>
                  <a:lnTo>
                    <a:pt x="22" y="54"/>
                  </a:lnTo>
                  <a:lnTo>
                    <a:pt x="24" y="53"/>
                  </a:lnTo>
                  <a:lnTo>
                    <a:pt x="25" y="52"/>
                  </a:lnTo>
                  <a:lnTo>
                    <a:pt x="27" y="51"/>
                  </a:lnTo>
                  <a:lnTo>
                    <a:pt x="31" y="42"/>
                  </a:lnTo>
                  <a:lnTo>
                    <a:pt x="35" y="36"/>
                  </a:lnTo>
                  <a:lnTo>
                    <a:pt x="36" y="32"/>
                  </a:lnTo>
                  <a:lnTo>
                    <a:pt x="37" y="28"/>
                  </a:lnTo>
                  <a:lnTo>
                    <a:pt x="38" y="24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37" y="13"/>
                  </a:lnTo>
                  <a:lnTo>
                    <a:pt x="37" y="10"/>
                  </a:lnTo>
                  <a:lnTo>
                    <a:pt x="35" y="7"/>
                  </a:lnTo>
                  <a:lnTo>
                    <a:pt x="33" y="4"/>
                  </a:lnTo>
                  <a:lnTo>
                    <a:pt x="31" y="2"/>
                  </a:lnTo>
                  <a:lnTo>
                    <a:pt x="28" y="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" name="Freeform 91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1893" y="3819"/>
              <a:ext cx="43" cy="34"/>
            </a:xfrm>
            <a:custGeom>
              <a:avLst/>
              <a:gdLst>
                <a:gd name="T0" fmla="*/ 0 w 46"/>
                <a:gd name="T1" fmla="*/ 9 h 36"/>
                <a:gd name="T2" fmla="*/ 0 w 46"/>
                <a:gd name="T3" fmla="*/ 9 h 36"/>
                <a:gd name="T4" fmla="*/ 1 w 46"/>
                <a:gd name="T5" fmla="*/ 9 h 36"/>
                <a:gd name="T6" fmla="*/ 2 w 46"/>
                <a:gd name="T7" fmla="*/ 9 h 36"/>
                <a:gd name="T8" fmla="*/ 4 w 46"/>
                <a:gd name="T9" fmla="*/ 9 h 36"/>
                <a:gd name="T10" fmla="*/ 7 w 46"/>
                <a:gd name="T11" fmla="*/ 9 h 36"/>
                <a:gd name="T12" fmla="*/ 7 w 46"/>
                <a:gd name="T13" fmla="*/ 9 h 36"/>
                <a:gd name="T14" fmla="*/ 7 w 46"/>
                <a:gd name="T15" fmla="*/ 9 h 36"/>
                <a:gd name="T16" fmla="*/ 7 w 46"/>
                <a:gd name="T17" fmla="*/ 9 h 36"/>
                <a:gd name="T18" fmla="*/ 7 w 46"/>
                <a:gd name="T19" fmla="*/ 9 h 36"/>
                <a:gd name="T20" fmla="*/ 7 w 46"/>
                <a:gd name="T21" fmla="*/ 9 h 36"/>
                <a:gd name="T22" fmla="*/ 7 w 46"/>
                <a:gd name="T23" fmla="*/ 9 h 36"/>
                <a:gd name="T24" fmla="*/ 7 w 46"/>
                <a:gd name="T25" fmla="*/ 9 h 36"/>
                <a:gd name="T26" fmla="*/ 7 w 46"/>
                <a:gd name="T27" fmla="*/ 9 h 36"/>
                <a:gd name="T28" fmla="*/ 7 w 46"/>
                <a:gd name="T29" fmla="*/ 9 h 36"/>
                <a:gd name="T30" fmla="*/ 7 w 46"/>
                <a:gd name="T31" fmla="*/ 9 h 36"/>
                <a:gd name="T32" fmla="*/ 7 w 46"/>
                <a:gd name="T33" fmla="*/ 9 h 36"/>
                <a:gd name="T34" fmla="*/ 8 w 46"/>
                <a:gd name="T35" fmla="*/ 9 h 36"/>
                <a:gd name="T36" fmla="*/ 8 w 46"/>
                <a:gd name="T37" fmla="*/ 9 h 36"/>
                <a:gd name="T38" fmla="*/ 9 w 46"/>
                <a:gd name="T39" fmla="*/ 9 h 36"/>
                <a:gd name="T40" fmla="*/ 9 w 46"/>
                <a:gd name="T41" fmla="*/ 9 h 36"/>
                <a:gd name="T42" fmla="*/ 9 w 46"/>
                <a:gd name="T43" fmla="*/ 9 h 36"/>
                <a:gd name="T44" fmla="*/ 10 w 46"/>
                <a:gd name="T45" fmla="*/ 9 h 36"/>
                <a:gd name="T46" fmla="*/ 10 w 46"/>
                <a:gd name="T47" fmla="*/ 9 h 36"/>
                <a:gd name="T48" fmla="*/ 10 w 46"/>
                <a:gd name="T49" fmla="*/ 6 h 36"/>
                <a:gd name="T50" fmla="*/ 9 w 46"/>
                <a:gd name="T51" fmla="*/ 1 h 36"/>
                <a:gd name="T52" fmla="*/ 9 w 46"/>
                <a:gd name="T53" fmla="*/ 0 h 36"/>
                <a:gd name="T54" fmla="*/ 9 w 46"/>
                <a:gd name="T55" fmla="*/ 0 h 36"/>
                <a:gd name="T56" fmla="*/ 8 w 46"/>
                <a:gd name="T57" fmla="*/ 0 h 36"/>
                <a:gd name="T58" fmla="*/ 8 w 46"/>
                <a:gd name="T59" fmla="*/ 0 h 36"/>
                <a:gd name="T60" fmla="*/ 7 w 46"/>
                <a:gd name="T61" fmla="*/ 0 h 36"/>
                <a:gd name="T62" fmla="*/ 7 w 46"/>
                <a:gd name="T63" fmla="*/ 0 h 36"/>
                <a:gd name="T64" fmla="*/ 7 w 46"/>
                <a:gd name="T65" fmla="*/ 1 h 36"/>
                <a:gd name="T66" fmla="*/ 7 w 46"/>
                <a:gd name="T67" fmla="*/ 1 h 36"/>
                <a:gd name="T68" fmla="*/ 7 w 46"/>
                <a:gd name="T69" fmla="*/ 2 h 36"/>
                <a:gd name="T70" fmla="*/ 7 w 46"/>
                <a:gd name="T71" fmla="*/ 4 h 36"/>
                <a:gd name="T72" fmla="*/ 7 w 46"/>
                <a:gd name="T73" fmla="*/ 6 h 36"/>
                <a:gd name="T74" fmla="*/ 7 w 46"/>
                <a:gd name="T75" fmla="*/ 9 h 36"/>
                <a:gd name="T76" fmla="*/ 7 w 46"/>
                <a:gd name="T77" fmla="*/ 9 h 36"/>
                <a:gd name="T78" fmla="*/ 4 w 46"/>
                <a:gd name="T79" fmla="*/ 9 h 36"/>
                <a:gd name="T80" fmla="*/ 2 w 46"/>
                <a:gd name="T81" fmla="*/ 9 h 36"/>
                <a:gd name="T82" fmla="*/ 1 w 46"/>
                <a:gd name="T83" fmla="*/ 9 h 36"/>
                <a:gd name="T84" fmla="*/ 0 w 46"/>
                <a:gd name="T85" fmla="*/ 9 h 36"/>
                <a:gd name="T86" fmla="*/ 0 w 46"/>
                <a:gd name="T87" fmla="*/ 9 h 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6"/>
                <a:gd name="T133" fmla="*/ 0 h 36"/>
                <a:gd name="T134" fmla="*/ 46 w 46"/>
                <a:gd name="T135" fmla="*/ 36 h 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6" h="36">
                  <a:moveTo>
                    <a:pt x="0" y="16"/>
                  </a:moveTo>
                  <a:lnTo>
                    <a:pt x="0" y="19"/>
                  </a:lnTo>
                  <a:lnTo>
                    <a:pt x="1" y="23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7" y="30"/>
                  </a:lnTo>
                  <a:lnTo>
                    <a:pt x="9" y="32"/>
                  </a:lnTo>
                  <a:lnTo>
                    <a:pt x="12" y="34"/>
                  </a:lnTo>
                  <a:lnTo>
                    <a:pt x="15" y="35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4" y="36"/>
                  </a:lnTo>
                  <a:lnTo>
                    <a:pt x="27" y="35"/>
                  </a:lnTo>
                  <a:lnTo>
                    <a:pt x="30" y="34"/>
                  </a:lnTo>
                  <a:lnTo>
                    <a:pt x="33" y="32"/>
                  </a:lnTo>
                  <a:lnTo>
                    <a:pt x="35" y="31"/>
                  </a:lnTo>
                  <a:lnTo>
                    <a:pt x="37" y="29"/>
                  </a:lnTo>
                  <a:lnTo>
                    <a:pt x="40" y="26"/>
                  </a:lnTo>
                  <a:lnTo>
                    <a:pt x="42" y="24"/>
                  </a:lnTo>
                  <a:lnTo>
                    <a:pt x="43" y="21"/>
                  </a:lnTo>
                  <a:lnTo>
                    <a:pt x="45" y="19"/>
                  </a:lnTo>
                  <a:lnTo>
                    <a:pt x="45" y="15"/>
                  </a:lnTo>
                  <a:lnTo>
                    <a:pt x="46" y="12"/>
                  </a:lnTo>
                  <a:lnTo>
                    <a:pt x="46" y="9"/>
                  </a:lnTo>
                  <a:lnTo>
                    <a:pt x="46" y="6"/>
                  </a:lnTo>
                  <a:lnTo>
                    <a:pt x="45" y="1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2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1" y="1"/>
                  </a:lnTo>
                  <a:lnTo>
                    <a:pt x="28" y="1"/>
                  </a:lnTo>
                  <a:lnTo>
                    <a:pt x="26" y="2"/>
                  </a:lnTo>
                  <a:lnTo>
                    <a:pt x="23" y="4"/>
                  </a:lnTo>
                  <a:lnTo>
                    <a:pt x="17" y="6"/>
                  </a:lnTo>
                  <a:lnTo>
                    <a:pt x="11" y="9"/>
                  </a:lnTo>
                  <a:lnTo>
                    <a:pt x="8" y="10"/>
                  </a:lnTo>
                  <a:lnTo>
                    <a:pt x="4" y="11"/>
                  </a:lnTo>
                  <a:lnTo>
                    <a:pt x="2" y="12"/>
                  </a:lnTo>
                  <a:lnTo>
                    <a:pt x="1" y="13"/>
                  </a:lnTo>
                  <a:lnTo>
                    <a:pt x="0" y="14"/>
                  </a:lnTo>
                  <a:lnTo>
                    <a:pt x="0" y="16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" name="Freeform 92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2033" y="3739"/>
              <a:ext cx="77" cy="79"/>
            </a:xfrm>
            <a:custGeom>
              <a:avLst/>
              <a:gdLst>
                <a:gd name="T0" fmla="*/ 2 w 82"/>
                <a:gd name="T1" fmla="*/ 8 h 85"/>
                <a:gd name="T2" fmla="*/ 4 w 82"/>
                <a:gd name="T3" fmla="*/ 9 h 85"/>
                <a:gd name="T4" fmla="*/ 8 w 82"/>
                <a:gd name="T5" fmla="*/ 11 h 85"/>
                <a:gd name="T6" fmla="*/ 8 w 82"/>
                <a:gd name="T7" fmla="*/ 12 h 85"/>
                <a:gd name="T8" fmla="*/ 8 w 82"/>
                <a:gd name="T9" fmla="*/ 13 h 85"/>
                <a:gd name="T10" fmla="*/ 8 w 82"/>
                <a:gd name="T11" fmla="*/ 15 h 85"/>
                <a:gd name="T12" fmla="*/ 8 w 82"/>
                <a:gd name="T13" fmla="*/ 16 h 85"/>
                <a:gd name="T14" fmla="*/ 8 w 82"/>
                <a:gd name="T15" fmla="*/ 16 h 85"/>
                <a:gd name="T16" fmla="*/ 8 w 82"/>
                <a:gd name="T17" fmla="*/ 16 h 85"/>
                <a:gd name="T18" fmla="*/ 10 w 82"/>
                <a:gd name="T19" fmla="*/ 16 h 85"/>
                <a:gd name="T20" fmla="*/ 11 w 82"/>
                <a:gd name="T21" fmla="*/ 16 h 85"/>
                <a:gd name="T22" fmla="*/ 12 w 82"/>
                <a:gd name="T23" fmla="*/ 15 h 85"/>
                <a:gd name="T24" fmla="*/ 13 w 82"/>
                <a:gd name="T25" fmla="*/ 14 h 85"/>
                <a:gd name="T26" fmla="*/ 14 w 82"/>
                <a:gd name="T27" fmla="*/ 11 h 85"/>
                <a:gd name="T28" fmla="*/ 14 w 82"/>
                <a:gd name="T29" fmla="*/ 8 h 85"/>
                <a:gd name="T30" fmla="*/ 14 w 82"/>
                <a:gd name="T31" fmla="*/ 7 h 85"/>
                <a:gd name="T32" fmla="*/ 14 w 82"/>
                <a:gd name="T33" fmla="*/ 7 h 85"/>
                <a:gd name="T34" fmla="*/ 17 w 82"/>
                <a:gd name="T35" fmla="*/ 7 h 85"/>
                <a:gd name="T36" fmla="*/ 19 w 82"/>
                <a:gd name="T37" fmla="*/ 7 h 85"/>
                <a:gd name="T38" fmla="*/ 20 w 82"/>
                <a:gd name="T39" fmla="*/ 7 h 85"/>
                <a:gd name="T40" fmla="*/ 20 w 82"/>
                <a:gd name="T41" fmla="*/ 7 h 85"/>
                <a:gd name="T42" fmla="*/ 20 w 82"/>
                <a:gd name="T43" fmla="*/ 7 h 85"/>
                <a:gd name="T44" fmla="*/ 20 w 82"/>
                <a:gd name="T45" fmla="*/ 7 h 85"/>
                <a:gd name="T46" fmla="*/ 19 w 82"/>
                <a:gd name="T47" fmla="*/ 6 h 85"/>
                <a:gd name="T48" fmla="*/ 18 w 82"/>
                <a:gd name="T49" fmla="*/ 2 h 85"/>
                <a:gd name="T50" fmla="*/ 17 w 82"/>
                <a:gd name="T51" fmla="*/ 0 h 85"/>
                <a:gd name="T52" fmla="*/ 16 w 82"/>
                <a:gd name="T53" fmla="*/ 1 h 85"/>
                <a:gd name="T54" fmla="*/ 16 w 82"/>
                <a:gd name="T55" fmla="*/ 3 h 85"/>
                <a:gd name="T56" fmla="*/ 15 w 82"/>
                <a:gd name="T57" fmla="*/ 7 h 85"/>
                <a:gd name="T58" fmla="*/ 14 w 82"/>
                <a:gd name="T59" fmla="*/ 7 h 85"/>
                <a:gd name="T60" fmla="*/ 12 w 82"/>
                <a:gd name="T61" fmla="*/ 7 h 85"/>
                <a:gd name="T62" fmla="*/ 9 w 82"/>
                <a:gd name="T63" fmla="*/ 7 h 85"/>
                <a:gd name="T64" fmla="*/ 8 w 82"/>
                <a:gd name="T65" fmla="*/ 7 h 85"/>
                <a:gd name="T66" fmla="*/ 8 w 82"/>
                <a:gd name="T67" fmla="*/ 7 h 85"/>
                <a:gd name="T68" fmla="*/ 8 w 82"/>
                <a:gd name="T69" fmla="*/ 7 h 85"/>
                <a:gd name="T70" fmla="*/ 5 w 82"/>
                <a:gd name="T71" fmla="*/ 7 h 85"/>
                <a:gd name="T72" fmla="*/ 2 w 82"/>
                <a:gd name="T73" fmla="*/ 7 h 85"/>
                <a:gd name="T74" fmla="*/ 0 w 82"/>
                <a:gd name="T75" fmla="*/ 7 h 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2"/>
                <a:gd name="T115" fmla="*/ 0 h 85"/>
                <a:gd name="T116" fmla="*/ 82 w 82"/>
                <a:gd name="T117" fmla="*/ 85 h 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2" h="85">
                  <a:moveTo>
                    <a:pt x="1" y="43"/>
                  </a:moveTo>
                  <a:lnTo>
                    <a:pt x="2" y="45"/>
                  </a:lnTo>
                  <a:lnTo>
                    <a:pt x="3" y="48"/>
                  </a:lnTo>
                  <a:lnTo>
                    <a:pt x="4" y="50"/>
                  </a:lnTo>
                  <a:lnTo>
                    <a:pt x="5" y="51"/>
                  </a:lnTo>
                  <a:lnTo>
                    <a:pt x="8" y="55"/>
                  </a:lnTo>
                  <a:lnTo>
                    <a:pt x="11" y="57"/>
                  </a:lnTo>
                  <a:lnTo>
                    <a:pt x="15" y="60"/>
                  </a:lnTo>
                  <a:lnTo>
                    <a:pt x="18" y="62"/>
                  </a:lnTo>
                  <a:lnTo>
                    <a:pt x="21" y="66"/>
                  </a:lnTo>
                  <a:lnTo>
                    <a:pt x="24" y="70"/>
                  </a:lnTo>
                  <a:lnTo>
                    <a:pt x="26" y="75"/>
                  </a:lnTo>
                  <a:lnTo>
                    <a:pt x="28" y="80"/>
                  </a:lnTo>
                  <a:lnTo>
                    <a:pt x="30" y="82"/>
                  </a:lnTo>
                  <a:lnTo>
                    <a:pt x="32" y="83"/>
                  </a:lnTo>
                  <a:lnTo>
                    <a:pt x="34" y="84"/>
                  </a:lnTo>
                  <a:lnTo>
                    <a:pt x="36" y="85"/>
                  </a:lnTo>
                  <a:lnTo>
                    <a:pt x="39" y="84"/>
                  </a:lnTo>
                  <a:lnTo>
                    <a:pt x="41" y="84"/>
                  </a:lnTo>
                  <a:lnTo>
                    <a:pt x="43" y="83"/>
                  </a:lnTo>
                  <a:lnTo>
                    <a:pt x="45" y="81"/>
                  </a:lnTo>
                  <a:lnTo>
                    <a:pt x="47" y="80"/>
                  </a:lnTo>
                  <a:lnTo>
                    <a:pt x="49" y="78"/>
                  </a:lnTo>
                  <a:lnTo>
                    <a:pt x="50" y="76"/>
                  </a:lnTo>
                  <a:lnTo>
                    <a:pt x="51" y="74"/>
                  </a:lnTo>
                  <a:lnTo>
                    <a:pt x="53" y="68"/>
                  </a:lnTo>
                  <a:lnTo>
                    <a:pt x="54" y="63"/>
                  </a:lnTo>
                  <a:lnTo>
                    <a:pt x="55" y="58"/>
                  </a:lnTo>
                  <a:lnTo>
                    <a:pt x="56" y="52"/>
                  </a:lnTo>
                  <a:lnTo>
                    <a:pt x="56" y="46"/>
                  </a:lnTo>
                  <a:lnTo>
                    <a:pt x="56" y="41"/>
                  </a:lnTo>
                  <a:lnTo>
                    <a:pt x="56" y="39"/>
                  </a:lnTo>
                  <a:lnTo>
                    <a:pt x="57" y="37"/>
                  </a:lnTo>
                  <a:lnTo>
                    <a:pt x="58" y="36"/>
                  </a:lnTo>
                  <a:lnTo>
                    <a:pt x="60" y="34"/>
                  </a:lnTo>
                  <a:lnTo>
                    <a:pt x="68" y="33"/>
                  </a:lnTo>
                  <a:lnTo>
                    <a:pt x="75" y="31"/>
                  </a:lnTo>
                  <a:lnTo>
                    <a:pt x="77" y="30"/>
                  </a:lnTo>
                  <a:lnTo>
                    <a:pt x="79" y="29"/>
                  </a:lnTo>
                  <a:lnTo>
                    <a:pt x="81" y="28"/>
                  </a:lnTo>
                  <a:lnTo>
                    <a:pt x="81" y="27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2" y="20"/>
                  </a:lnTo>
                  <a:lnTo>
                    <a:pt x="81" y="17"/>
                  </a:lnTo>
                  <a:lnTo>
                    <a:pt x="81" y="13"/>
                  </a:lnTo>
                  <a:lnTo>
                    <a:pt x="79" y="9"/>
                  </a:lnTo>
                  <a:lnTo>
                    <a:pt x="78" y="6"/>
                  </a:lnTo>
                  <a:lnTo>
                    <a:pt x="76" y="4"/>
                  </a:lnTo>
                  <a:lnTo>
                    <a:pt x="73" y="2"/>
                  </a:lnTo>
                  <a:lnTo>
                    <a:pt x="70" y="1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6" y="1"/>
                  </a:lnTo>
                  <a:lnTo>
                    <a:pt x="65" y="1"/>
                  </a:lnTo>
                  <a:lnTo>
                    <a:pt x="63" y="3"/>
                  </a:lnTo>
                  <a:lnTo>
                    <a:pt x="62" y="5"/>
                  </a:lnTo>
                  <a:lnTo>
                    <a:pt x="60" y="8"/>
                  </a:lnTo>
                  <a:lnTo>
                    <a:pt x="58" y="11"/>
                  </a:lnTo>
                  <a:lnTo>
                    <a:pt x="56" y="12"/>
                  </a:lnTo>
                  <a:lnTo>
                    <a:pt x="53" y="14"/>
                  </a:lnTo>
                  <a:lnTo>
                    <a:pt x="49" y="16"/>
                  </a:lnTo>
                  <a:lnTo>
                    <a:pt x="45" y="18"/>
                  </a:lnTo>
                  <a:lnTo>
                    <a:pt x="41" y="20"/>
                  </a:lnTo>
                  <a:lnTo>
                    <a:pt x="37" y="22"/>
                  </a:lnTo>
                  <a:lnTo>
                    <a:pt x="31" y="24"/>
                  </a:lnTo>
                  <a:lnTo>
                    <a:pt x="25" y="26"/>
                  </a:lnTo>
                  <a:lnTo>
                    <a:pt x="18" y="27"/>
                  </a:lnTo>
                  <a:lnTo>
                    <a:pt x="12" y="29"/>
                  </a:lnTo>
                  <a:lnTo>
                    <a:pt x="10" y="30"/>
                  </a:lnTo>
                  <a:lnTo>
                    <a:pt x="7" y="31"/>
                  </a:lnTo>
                  <a:lnTo>
                    <a:pt x="5" y="33"/>
                  </a:lnTo>
                  <a:lnTo>
                    <a:pt x="3" y="34"/>
                  </a:lnTo>
                  <a:lnTo>
                    <a:pt x="2" y="36"/>
                  </a:lnTo>
                  <a:lnTo>
                    <a:pt x="1" y="38"/>
                  </a:lnTo>
                  <a:lnTo>
                    <a:pt x="0" y="40"/>
                  </a:lnTo>
                  <a:lnTo>
                    <a:pt x="1" y="43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" name="Freeform 93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1992" y="3781"/>
              <a:ext cx="27" cy="26"/>
            </a:xfrm>
            <a:custGeom>
              <a:avLst/>
              <a:gdLst>
                <a:gd name="T0" fmla="*/ 0 w 29"/>
                <a:gd name="T1" fmla="*/ 7 h 28"/>
                <a:gd name="T2" fmla="*/ 0 w 29"/>
                <a:gd name="T3" fmla="*/ 7 h 28"/>
                <a:gd name="T4" fmla="*/ 0 w 29"/>
                <a:gd name="T5" fmla="*/ 7 h 28"/>
                <a:gd name="T6" fmla="*/ 2 w 29"/>
                <a:gd name="T7" fmla="*/ 7 h 28"/>
                <a:gd name="T8" fmla="*/ 3 w 29"/>
                <a:gd name="T9" fmla="*/ 7 h 28"/>
                <a:gd name="T10" fmla="*/ 6 w 29"/>
                <a:gd name="T11" fmla="*/ 7 h 28"/>
                <a:gd name="T12" fmla="*/ 7 w 29"/>
                <a:gd name="T13" fmla="*/ 7 h 28"/>
                <a:gd name="T14" fmla="*/ 7 w 29"/>
                <a:gd name="T15" fmla="*/ 7 h 28"/>
                <a:gd name="T16" fmla="*/ 7 w 29"/>
                <a:gd name="T17" fmla="*/ 7 h 28"/>
                <a:gd name="T18" fmla="*/ 7 w 29"/>
                <a:gd name="T19" fmla="*/ 7 h 28"/>
                <a:gd name="T20" fmla="*/ 7 w 29"/>
                <a:gd name="T21" fmla="*/ 7 h 28"/>
                <a:gd name="T22" fmla="*/ 7 w 29"/>
                <a:gd name="T23" fmla="*/ 7 h 28"/>
                <a:gd name="T24" fmla="*/ 7 w 29"/>
                <a:gd name="T25" fmla="*/ 7 h 28"/>
                <a:gd name="T26" fmla="*/ 7 w 29"/>
                <a:gd name="T27" fmla="*/ 7 h 28"/>
                <a:gd name="T28" fmla="*/ 7 w 29"/>
                <a:gd name="T29" fmla="*/ 7 h 28"/>
                <a:gd name="T30" fmla="*/ 7 w 29"/>
                <a:gd name="T31" fmla="*/ 7 h 28"/>
                <a:gd name="T32" fmla="*/ 7 w 29"/>
                <a:gd name="T33" fmla="*/ 7 h 28"/>
                <a:gd name="T34" fmla="*/ 7 w 29"/>
                <a:gd name="T35" fmla="*/ 7 h 28"/>
                <a:gd name="T36" fmla="*/ 7 w 29"/>
                <a:gd name="T37" fmla="*/ 7 h 28"/>
                <a:gd name="T38" fmla="*/ 7 w 29"/>
                <a:gd name="T39" fmla="*/ 7 h 28"/>
                <a:gd name="T40" fmla="*/ 7 w 29"/>
                <a:gd name="T41" fmla="*/ 7 h 28"/>
                <a:gd name="T42" fmla="*/ 7 w 29"/>
                <a:gd name="T43" fmla="*/ 7 h 28"/>
                <a:gd name="T44" fmla="*/ 7 w 29"/>
                <a:gd name="T45" fmla="*/ 6 h 28"/>
                <a:gd name="T46" fmla="*/ 7 w 29"/>
                <a:gd name="T47" fmla="*/ 4 h 28"/>
                <a:gd name="T48" fmla="*/ 7 w 29"/>
                <a:gd name="T49" fmla="*/ 2 h 28"/>
                <a:gd name="T50" fmla="*/ 7 w 29"/>
                <a:gd name="T51" fmla="*/ 1 h 28"/>
                <a:gd name="T52" fmla="*/ 7 w 29"/>
                <a:gd name="T53" fmla="*/ 0 h 28"/>
                <a:gd name="T54" fmla="*/ 7 w 29"/>
                <a:gd name="T55" fmla="*/ 0 h 28"/>
                <a:gd name="T56" fmla="*/ 7 w 29"/>
                <a:gd name="T57" fmla="*/ 0 h 28"/>
                <a:gd name="T58" fmla="*/ 5 w 29"/>
                <a:gd name="T59" fmla="*/ 1 h 28"/>
                <a:gd name="T60" fmla="*/ 3 w 29"/>
                <a:gd name="T61" fmla="*/ 2 h 28"/>
                <a:gd name="T62" fmla="*/ 2 w 29"/>
                <a:gd name="T63" fmla="*/ 4 h 28"/>
                <a:gd name="T64" fmla="*/ 1 w 29"/>
                <a:gd name="T65" fmla="*/ 5 h 28"/>
                <a:gd name="T66" fmla="*/ 0 w 29"/>
                <a:gd name="T67" fmla="*/ 7 h 28"/>
                <a:gd name="T68" fmla="*/ 0 w 29"/>
                <a:gd name="T69" fmla="*/ 7 h 2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"/>
                <a:gd name="T106" fmla="*/ 0 h 28"/>
                <a:gd name="T107" fmla="*/ 29 w 29"/>
                <a:gd name="T108" fmla="*/ 28 h 2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" h="28">
                  <a:moveTo>
                    <a:pt x="0" y="10"/>
                  </a:move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lnTo>
                    <a:pt x="3" y="15"/>
                  </a:lnTo>
                  <a:lnTo>
                    <a:pt x="6" y="17"/>
                  </a:lnTo>
                  <a:lnTo>
                    <a:pt x="9" y="19"/>
                  </a:lnTo>
                  <a:lnTo>
                    <a:pt x="14" y="22"/>
                  </a:lnTo>
                  <a:lnTo>
                    <a:pt x="18" y="25"/>
                  </a:lnTo>
                  <a:lnTo>
                    <a:pt x="20" y="26"/>
                  </a:lnTo>
                  <a:lnTo>
                    <a:pt x="22" y="27"/>
                  </a:lnTo>
                  <a:lnTo>
                    <a:pt x="25" y="28"/>
                  </a:lnTo>
                  <a:lnTo>
                    <a:pt x="27" y="27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0"/>
                  </a:lnTo>
                  <a:lnTo>
                    <a:pt x="29" y="17"/>
                  </a:lnTo>
                  <a:lnTo>
                    <a:pt x="28" y="14"/>
                  </a:lnTo>
                  <a:lnTo>
                    <a:pt x="27" y="11"/>
                  </a:lnTo>
                  <a:lnTo>
                    <a:pt x="26" y="8"/>
                  </a:lnTo>
                  <a:lnTo>
                    <a:pt x="24" y="6"/>
                  </a:lnTo>
                  <a:lnTo>
                    <a:pt x="21" y="4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1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10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" name="Freeform 94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2140" y="3797"/>
              <a:ext cx="50" cy="50"/>
            </a:xfrm>
            <a:custGeom>
              <a:avLst/>
              <a:gdLst>
                <a:gd name="T0" fmla="*/ 0 w 53"/>
                <a:gd name="T1" fmla="*/ 8 h 53"/>
                <a:gd name="T2" fmla="*/ 0 w 53"/>
                <a:gd name="T3" fmla="*/ 8 h 53"/>
                <a:gd name="T4" fmla="*/ 0 w 53"/>
                <a:gd name="T5" fmla="*/ 8 h 53"/>
                <a:gd name="T6" fmla="*/ 1 w 53"/>
                <a:gd name="T7" fmla="*/ 8 h 53"/>
                <a:gd name="T8" fmla="*/ 2 w 53"/>
                <a:gd name="T9" fmla="*/ 8 h 53"/>
                <a:gd name="T10" fmla="*/ 4 w 53"/>
                <a:gd name="T11" fmla="*/ 9 h 53"/>
                <a:gd name="T12" fmla="*/ 5 w 53"/>
                <a:gd name="T13" fmla="*/ 10 h 53"/>
                <a:gd name="T14" fmla="*/ 7 w 53"/>
                <a:gd name="T15" fmla="*/ 12 h 53"/>
                <a:gd name="T16" fmla="*/ 8 w 53"/>
                <a:gd name="T17" fmla="*/ 12 h 53"/>
                <a:gd name="T18" fmla="*/ 8 w 53"/>
                <a:gd name="T19" fmla="*/ 13 h 53"/>
                <a:gd name="T20" fmla="*/ 8 w 53"/>
                <a:gd name="T21" fmla="*/ 13 h 53"/>
                <a:gd name="T22" fmla="*/ 8 w 53"/>
                <a:gd name="T23" fmla="*/ 14 h 53"/>
                <a:gd name="T24" fmla="*/ 8 w 53"/>
                <a:gd name="T25" fmla="*/ 14 h 53"/>
                <a:gd name="T26" fmla="*/ 8 w 53"/>
                <a:gd name="T27" fmla="*/ 14 h 53"/>
                <a:gd name="T28" fmla="*/ 8 w 53"/>
                <a:gd name="T29" fmla="*/ 15 h 53"/>
                <a:gd name="T30" fmla="*/ 8 w 53"/>
                <a:gd name="T31" fmla="*/ 15 h 53"/>
                <a:gd name="T32" fmla="*/ 8 w 53"/>
                <a:gd name="T33" fmla="*/ 15 h 53"/>
                <a:gd name="T34" fmla="*/ 8 w 53"/>
                <a:gd name="T35" fmla="*/ 15 h 53"/>
                <a:gd name="T36" fmla="*/ 8 w 53"/>
                <a:gd name="T37" fmla="*/ 15 h 53"/>
                <a:gd name="T38" fmla="*/ 9 w 53"/>
                <a:gd name="T39" fmla="*/ 14 h 53"/>
                <a:gd name="T40" fmla="*/ 10 w 53"/>
                <a:gd name="T41" fmla="*/ 14 h 53"/>
                <a:gd name="T42" fmla="*/ 11 w 53"/>
                <a:gd name="T43" fmla="*/ 14 h 53"/>
                <a:gd name="T44" fmla="*/ 12 w 53"/>
                <a:gd name="T45" fmla="*/ 13 h 53"/>
                <a:gd name="T46" fmla="*/ 12 w 53"/>
                <a:gd name="T47" fmla="*/ 12 h 53"/>
                <a:gd name="T48" fmla="*/ 13 w 53"/>
                <a:gd name="T49" fmla="*/ 12 h 53"/>
                <a:gd name="T50" fmla="*/ 14 w 53"/>
                <a:gd name="T51" fmla="*/ 10 h 53"/>
                <a:gd name="T52" fmla="*/ 14 w 53"/>
                <a:gd name="T53" fmla="*/ 8 h 53"/>
                <a:gd name="T54" fmla="*/ 15 w 53"/>
                <a:gd name="T55" fmla="*/ 8 h 53"/>
                <a:gd name="T56" fmla="*/ 15 w 53"/>
                <a:gd name="T57" fmla="*/ 8 h 53"/>
                <a:gd name="T58" fmla="*/ 15 w 53"/>
                <a:gd name="T59" fmla="*/ 8 h 53"/>
                <a:gd name="T60" fmla="*/ 15 w 53"/>
                <a:gd name="T61" fmla="*/ 8 h 53"/>
                <a:gd name="T62" fmla="*/ 14 w 53"/>
                <a:gd name="T63" fmla="*/ 8 h 53"/>
                <a:gd name="T64" fmla="*/ 14 w 53"/>
                <a:gd name="T65" fmla="*/ 8 h 53"/>
                <a:gd name="T66" fmla="*/ 13 w 53"/>
                <a:gd name="T67" fmla="*/ 8 h 53"/>
                <a:gd name="T68" fmla="*/ 13 w 53"/>
                <a:gd name="T69" fmla="*/ 7 h 53"/>
                <a:gd name="T70" fmla="*/ 12 w 53"/>
                <a:gd name="T71" fmla="*/ 5 h 53"/>
                <a:gd name="T72" fmla="*/ 11 w 53"/>
                <a:gd name="T73" fmla="*/ 2 h 53"/>
                <a:gd name="T74" fmla="*/ 10 w 53"/>
                <a:gd name="T75" fmla="*/ 0 h 53"/>
                <a:gd name="T76" fmla="*/ 9 w 53"/>
                <a:gd name="T77" fmla="*/ 0 h 53"/>
                <a:gd name="T78" fmla="*/ 8 w 53"/>
                <a:gd name="T79" fmla="*/ 0 h 53"/>
                <a:gd name="T80" fmla="*/ 8 w 53"/>
                <a:gd name="T81" fmla="*/ 0 h 53"/>
                <a:gd name="T82" fmla="*/ 8 w 53"/>
                <a:gd name="T83" fmla="*/ 2 h 53"/>
                <a:gd name="T84" fmla="*/ 8 w 53"/>
                <a:gd name="T85" fmla="*/ 5 h 53"/>
                <a:gd name="T86" fmla="*/ 8 w 53"/>
                <a:gd name="T87" fmla="*/ 8 h 53"/>
                <a:gd name="T88" fmla="*/ 6 w 53"/>
                <a:gd name="T89" fmla="*/ 8 h 53"/>
                <a:gd name="T90" fmla="*/ 4 w 53"/>
                <a:gd name="T91" fmla="*/ 8 h 53"/>
                <a:gd name="T92" fmla="*/ 2 w 53"/>
                <a:gd name="T93" fmla="*/ 8 h 53"/>
                <a:gd name="T94" fmla="*/ 1 w 53"/>
                <a:gd name="T95" fmla="*/ 8 h 53"/>
                <a:gd name="T96" fmla="*/ 0 w 53"/>
                <a:gd name="T97" fmla="*/ 8 h 53"/>
                <a:gd name="T98" fmla="*/ 0 w 53"/>
                <a:gd name="T99" fmla="*/ 8 h 53"/>
                <a:gd name="T100" fmla="*/ 0 w 53"/>
                <a:gd name="T101" fmla="*/ 8 h 5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3"/>
                <a:gd name="T154" fmla="*/ 0 h 53"/>
                <a:gd name="T155" fmla="*/ 53 w 53"/>
                <a:gd name="T156" fmla="*/ 53 h 5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3" h="53">
                  <a:moveTo>
                    <a:pt x="0" y="25"/>
                  </a:moveTo>
                  <a:lnTo>
                    <a:pt x="0" y="28"/>
                  </a:lnTo>
                  <a:lnTo>
                    <a:pt x="0" y="31"/>
                  </a:lnTo>
                  <a:lnTo>
                    <a:pt x="1" y="34"/>
                  </a:lnTo>
                  <a:lnTo>
                    <a:pt x="2" y="37"/>
                  </a:lnTo>
                  <a:lnTo>
                    <a:pt x="4" y="39"/>
                  </a:lnTo>
                  <a:lnTo>
                    <a:pt x="5" y="41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7"/>
                  </a:lnTo>
                  <a:lnTo>
                    <a:pt x="14" y="49"/>
                  </a:lnTo>
                  <a:lnTo>
                    <a:pt x="17" y="50"/>
                  </a:lnTo>
                  <a:lnTo>
                    <a:pt x="20" y="51"/>
                  </a:lnTo>
                  <a:lnTo>
                    <a:pt x="22" y="52"/>
                  </a:lnTo>
                  <a:lnTo>
                    <a:pt x="25" y="53"/>
                  </a:lnTo>
                  <a:lnTo>
                    <a:pt x="28" y="53"/>
                  </a:lnTo>
                  <a:lnTo>
                    <a:pt x="31" y="53"/>
                  </a:lnTo>
                  <a:lnTo>
                    <a:pt x="34" y="53"/>
                  </a:lnTo>
                  <a:lnTo>
                    <a:pt x="36" y="53"/>
                  </a:lnTo>
                  <a:lnTo>
                    <a:pt x="39" y="52"/>
                  </a:lnTo>
                  <a:lnTo>
                    <a:pt x="40" y="51"/>
                  </a:lnTo>
                  <a:lnTo>
                    <a:pt x="43" y="50"/>
                  </a:lnTo>
                  <a:lnTo>
                    <a:pt x="44" y="49"/>
                  </a:lnTo>
                  <a:lnTo>
                    <a:pt x="46" y="46"/>
                  </a:lnTo>
                  <a:lnTo>
                    <a:pt x="47" y="44"/>
                  </a:lnTo>
                  <a:lnTo>
                    <a:pt x="50" y="40"/>
                  </a:lnTo>
                  <a:lnTo>
                    <a:pt x="52" y="35"/>
                  </a:lnTo>
                  <a:lnTo>
                    <a:pt x="53" y="30"/>
                  </a:lnTo>
                  <a:lnTo>
                    <a:pt x="53" y="25"/>
                  </a:lnTo>
                  <a:lnTo>
                    <a:pt x="53" y="22"/>
                  </a:lnTo>
                  <a:lnTo>
                    <a:pt x="53" y="18"/>
                  </a:lnTo>
                  <a:lnTo>
                    <a:pt x="52" y="15"/>
                  </a:lnTo>
                  <a:lnTo>
                    <a:pt x="51" y="12"/>
                  </a:lnTo>
                  <a:lnTo>
                    <a:pt x="49" y="10"/>
                  </a:lnTo>
                  <a:lnTo>
                    <a:pt x="48" y="7"/>
                  </a:lnTo>
                  <a:lnTo>
                    <a:pt x="46" y="5"/>
                  </a:lnTo>
                  <a:lnTo>
                    <a:pt x="43" y="2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7" y="2"/>
                  </a:lnTo>
                  <a:lnTo>
                    <a:pt x="21" y="5"/>
                  </a:lnTo>
                  <a:lnTo>
                    <a:pt x="13" y="9"/>
                  </a:lnTo>
                  <a:lnTo>
                    <a:pt x="6" y="13"/>
                  </a:lnTo>
                  <a:lnTo>
                    <a:pt x="4" y="15"/>
                  </a:lnTo>
                  <a:lnTo>
                    <a:pt x="2" y="18"/>
                  </a:lnTo>
                  <a:lnTo>
                    <a:pt x="1" y="20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3" name="Freeform 95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2362" y="3692"/>
              <a:ext cx="44" cy="40"/>
            </a:xfrm>
            <a:custGeom>
              <a:avLst/>
              <a:gdLst>
                <a:gd name="T0" fmla="*/ 0 w 47"/>
                <a:gd name="T1" fmla="*/ 7 h 43"/>
                <a:gd name="T2" fmla="*/ 0 w 47"/>
                <a:gd name="T3" fmla="*/ 7 h 43"/>
                <a:gd name="T4" fmla="*/ 1 w 47"/>
                <a:gd name="T5" fmla="*/ 7 h 43"/>
                <a:gd name="T6" fmla="*/ 2 w 47"/>
                <a:gd name="T7" fmla="*/ 7 h 43"/>
                <a:gd name="T8" fmla="*/ 3 w 47"/>
                <a:gd name="T9" fmla="*/ 7 h 43"/>
                <a:gd name="T10" fmla="*/ 5 w 47"/>
                <a:gd name="T11" fmla="*/ 7 h 43"/>
                <a:gd name="T12" fmla="*/ 6 w 47"/>
                <a:gd name="T13" fmla="*/ 7 h 43"/>
                <a:gd name="T14" fmla="*/ 7 w 47"/>
                <a:gd name="T15" fmla="*/ 7 h 43"/>
                <a:gd name="T16" fmla="*/ 7 w 47"/>
                <a:gd name="T17" fmla="*/ 7 h 43"/>
                <a:gd name="T18" fmla="*/ 7 w 47"/>
                <a:gd name="T19" fmla="*/ 7 h 43"/>
                <a:gd name="T20" fmla="*/ 7 w 47"/>
                <a:gd name="T21" fmla="*/ 7 h 43"/>
                <a:gd name="T22" fmla="*/ 7 w 47"/>
                <a:gd name="T23" fmla="*/ 7 h 43"/>
                <a:gd name="T24" fmla="*/ 7 w 47"/>
                <a:gd name="T25" fmla="*/ 7 h 43"/>
                <a:gd name="T26" fmla="*/ 7 w 47"/>
                <a:gd name="T27" fmla="*/ 7 h 43"/>
                <a:gd name="T28" fmla="*/ 7 w 47"/>
                <a:gd name="T29" fmla="*/ 7 h 43"/>
                <a:gd name="T30" fmla="*/ 7 w 47"/>
                <a:gd name="T31" fmla="*/ 7 h 43"/>
                <a:gd name="T32" fmla="*/ 7 w 47"/>
                <a:gd name="T33" fmla="*/ 7 h 43"/>
                <a:gd name="T34" fmla="*/ 7 w 47"/>
                <a:gd name="T35" fmla="*/ 7 h 43"/>
                <a:gd name="T36" fmla="*/ 8 w 47"/>
                <a:gd name="T37" fmla="*/ 7 h 43"/>
                <a:gd name="T38" fmla="*/ 9 w 47"/>
                <a:gd name="T39" fmla="*/ 7 h 43"/>
                <a:gd name="T40" fmla="*/ 10 w 47"/>
                <a:gd name="T41" fmla="*/ 7 h 43"/>
                <a:gd name="T42" fmla="*/ 10 w 47"/>
                <a:gd name="T43" fmla="*/ 7 h 43"/>
                <a:gd name="T44" fmla="*/ 10 w 47"/>
                <a:gd name="T45" fmla="*/ 7 h 43"/>
                <a:gd name="T46" fmla="*/ 10 w 47"/>
                <a:gd name="T47" fmla="*/ 7 h 43"/>
                <a:gd name="T48" fmla="*/ 10 w 47"/>
                <a:gd name="T49" fmla="*/ 7 h 43"/>
                <a:gd name="T50" fmla="*/ 10 w 47"/>
                <a:gd name="T51" fmla="*/ 6 h 43"/>
                <a:gd name="T52" fmla="*/ 10 w 47"/>
                <a:gd name="T53" fmla="*/ 3 h 43"/>
                <a:gd name="T54" fmla="*/ 10 w 47"/>
                <a:gd name="T55" fmla="*/ 2 h 43"/>
                <a:gd name="T56" fmla="*/ 10 w 47"/>
                <a:gd name="T57" fmla="*/ 1 h 43"/>
                <a:gd name="T58" fmla="*/ 10 w 47"/>
                <a:gd name="T59" fmla="*/ 1 h 43"/>
                <a:gd name="T60" fmla="*/ 9 w 47"/>
                <a:gd name="T61" fmla="*/ 0 h 43"/>
                <a:gd name="T62" fmla="*/ 8 w 47"/>
                <a:gd name="T63" fmla="*/ 1 h 43"/>
                <a:gd name="T64" fmla="*/ 8 w 47"/>
                <a:gd name="T65" fmla="*/ 2 h 43"/>
                <a:gd name="T66" fmla="*/ 7 w 47"/>
                <a:gd name="T67" fmla="*/ 4 h 43"/>
                <a:gd name="T68" fmla="*/ 7 w 47"/>
                <a:gd name="T69" fmla="*/ 5 h 43"/>
                <a:gd name="T70" fmla="*/ 7 w 47"/>
                <a:gd name="T71" fmla="*/ 7 h 43"/>
                <a:gd name="T72" fmla="*/ 7 w 47"/>
                <a:gd name="T73" fmla="*/ 7 h 43"/>
                <a:gd name="T74" fmla="*/ 7 w 47"/>
                <a:gd name="T75" fmla="*/ 7 h 43"/>
                <a:gd name="T76" fmla="*/ 7 w 47"/>
                <a:gd name="T77" fmla="*/ 7 h 43"/>
                <a:gd name="T78" fmla="*/ 7 w 47"/>
                <a:gd name="T79" fmla="*/ 7 h 43"/>
                <a:gd name="T80" fmla="*/ 7 w 47"/>
                <a:gd name="T81" fmla="*/ 7 h 43"/>
                <a:gd name="T82" fmla="*/ 6 w 47"/>
                <a:gd name="T83" fmla="*/ 7 h 43"/>
                <a:gd name="T84" fmla="*/ 3 w 47"/>
                <a:gd name="T85" fmla="*/ 7 h 43"/>
                <a:gd name="T86" fmla="*/ 2 w 47"/>
                <a:gd name="T87" fmla="*/ 7 h 43"/>
                <a:gd name="T88" fmla="*/ 1 w 47"/>
                <a:gd name="T89" fmla="*/ 7 h 43"/>
                <a:gd name="T90" fmla="*/ 0 w 47"/>
                <a:gd name="T91" fmla="*/ 7 h 43"/>
                <a:gd name="T92" fmla="*/ 0 w 47"/>
                <a:gd name="T93" fmla="*/ 7 h 4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7"/>
                <a:gd name="T142" fmla="*/ 0 h 43"/>
                <a:gd name="T143" fmla="*/ 47 w 47"/>
                <a:gd name="T144" fmla="*/ 43 h 4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7" h="43">
                  <a:moveTo>
                    <a:pt x="0" y="21"/>
                  </a:moveTo>
                  <a:lnTo>
                    <a:pt x="0" y="29"/>
                  </a:lnTo>
                  <a:lnTo>
                    <a:pt x="1" y="36"/>
                  </a:lnTo>
                  <a:lnTo>
                    <a:pt x="2" y="39"/>
                  </a:lnTo>
                  <a:lnTo>
                    <a:pt x="3" y="41"/>
                  </a:lnTo>
                  <a:lnTo>
                    <a:pt x="5" y="42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4" y="42"/>
                  </a:lnTo>
                  <a:lnTo>
                    <a:pt x="15" y="41"/>
                  </a:lnTo>
                  <a:lnTo>
                    <a:pt x="17" y="39"/>
                  </a:lnTo>
                  <a:lnTo>
                    <a:pt x="21" y="36"/>
                  </a:lnTo>
                  <a:lnTo>
                    <a:pt x="25" y="33"/>
                  </a:lnTo>
                  <a:lnTo>
                    <a:pt x="30" y="31"/>
                  </a:lnTo>
                  <a:lnTo>
                    <a:pt x="33" y="29"/>
                  </a:lnTo>
                  <a:lnTo>
                    <a:pt x="37" y="27"/>
                  </a:lnTo>
                  <a:lnTo>
                    <a:pt x="41" y="24"/>
                  </a:lnTo>
                  <a:lnTo>
                    <a:pt x="43" y="21"/>
                  </a:lnTo>
                  <a:lnTo>
                    <a:pt x="46" y="17"/>
                  </a:lnTo>
                  <a:lnTo>
                    <a:pt x="46" y="15"/>
                  </a:lnTo>
                  <a:lnTo>
                    <a:pt x="47" y="13"/>
                  </a:lnTo>
                  <a:lnTo>
                    <a:pt x="47" y="11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47" y="3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4" y="0"/>
                  </a:lnTo>
                  <a:lnTo>
                    <a:pt x="41" y="1"/>
                  </a:lnTo>
                  <a:lnTo>
                    <a:pt x="39" y="2"/>
                  </a:lnTo>
                  <a:lnTo>
                    <a:pt x="36" y="4"/>
                  </a:lnTo>
                  <a:lnTo>
                    <a:pt x="35" y="5"/>
                  </a:lnTo>
                  <a:lnTo>
                    <a:pt x="33" y="7"/>
                  </a:lnTo>
                  <a:lnTo>
                    <a:pt x="31" y="8"/>
                  </a:lnTo>
                  <a:lnTo>
                    <a:pt x="29" y="10"/>
                  </a:lnTo>
                  <a:lnTo>
                    <a:pt x="26" y="11"/>
                  </a:lnTo>
                  <a:lnTo>
                    <a:pt x="18" y="13"/>
                  </a:lnTo>
                  <a:lnTo>
                    <a:pt x="9" y="13"/>
                  </a:lnTo>
                  <a:lnTo>
                    <a:pt x="6" y="14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1" y="18"/>
                  </a:lnTo>
                  <a:lnTo>
                    <a:pt x="0" y="20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4" name="Freeform 96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2285" y="3750"/>
              <a:ext cx="69" cy="75"/>
            </a:xfrm>
            <a:custGeom>
              <a:avLst/>
              <a:gdLst>
                <a:gd name="T0" fmla="*/ 4 w 74"/>
                <a:gd name="T1" fmla="*/ 19 h 80"/>
                <a:gd name="T2" fmla="*/ 7 w 74"/>
                <a:gd name="T3" fmla="*/ 19 h 80"/>
                <a:gd name="T4" fmla="*/ 7 w 74"/>
                <a:gd name="T5" fmla="*/ 19 h 80"/>
                <a:gd name="T6" fmla="*/ 7 w 74"/>
                <a:gd name="T7" fmla="*/ 19 h 80"/>
                <a:gd name="T8" fmla="*/ 7 w 74"/>
                <a:gd name="T9" fmla="*/ 19 h 80"/>
                <a:gd name="T10" fmla="*/ 7 w 74"/>
                <a:gd name="T11" fmla="*/ 19 h 80"/>
                <a:gd name="T12" fmla="*/ 8 w 74"/>
                <a:gd name="T13" fmla="*/ 19 h 80"/>
                <a:gd name="T14" fmla="*/ 9 w 74"/>
                <a:gd name="T15" fmla="*/ 18 h 80"/>
                <a:gd name="T16" fmla="*/ 10 w 74"/>
                <a:gd name="T17" fmla="*/ 18 h 80"/>
                <a:gd name="T18" fmla="*/ 11 w 74"/>
                <a:gd name="T19" fmla="*/ 17 h 80"/>
                <a:gd name="T20" fmla="*/ 12 w 74"/>
                <a:gd name="T21" fmla="*/ 15 h 80"/>
                <a:gd name="T22" fmla="*/ 13 w 74"/>
                <a:gd name="T23" fmla="*/ 14 h 80"/>
                <a:gd name="T24" fmla="*/ 13 w 74"/>
                <a:gd name="T25" fmla="*/ 13 h 80"/>
                <a:gd name="T26" fmla="*/ 14 w 74"/>
                <a:gd name="T27" fmla="*/ 11 h 80"/>
                <a:gd name="T28" fmla="*/ 14 w 74"/>
                <a:gd name="T29" fmla="*/ 9 h 80"/>
                <a:gd name="T30" fmla="*/ 14 w 74"/>
                <a:gd name="T31" fmla="*/ 8 h 80"/>
                <a:gd name="T32" fmla="*/ 15 w 74"/>
                <a:gd name="T33" fmla="*/ 8 h 80"/>
                <a:gd name="T34" fmla="*/ 15 w 74"/>
                <a:gd name="T35" fmla="*/ 8 h 80"/>
                <a:gd name="T36" fmla="*/ 15 w 74"/>
                <a:gd name="T37" fmla="*/ 8 h 80"/>
                <a:gd name="T38" fmla="*/ 16 w 74"/>
                <a:gd name="T39" fmla="*/ 8 h 80"/>
                <a:gd name="T40" fmla="*/ 16 w 74"/>
                <a:gd name="T41" fmla="*/ 8 h 80"/>
                <a:gd name="T42" fmla="*/ 16 w 74"/>
                <a:gd name="T43" fmla="*/ 8 h 80"/>
                <a:gd name="T44" fmla="*/ 16 w 74"/>
                <a:gd name="T45" fmla="*/ 8 h 80"/>
                <a:gd name="T46" fmla="*/ 16 w 74"/>
                <a:gd name="T47" fmla="*/ 7 h 80"/>
                <a:gd name="T48" fmla="*/ 15 w 74"/>
                <a:gd name="T49" fmla="*/ 5 h 80"/>
                <a:gd name="T50" fmla="*/ 15 w 74"/>
                <a:gd name="T51" fmla="*/ 3 h 80"/>
                <a:gd name="T52" fmla="*/ 14 w 74"/>
                <a:gd name="T53" fmla="*/ 2 h 80"/>
                <a:gd name="T54" fmla="*/ 14 w 74"/>
                <a:gd name="T55" fmla="*/ 1 h 80"/>
                <a:gd name="T56" fmla="*/ 13 w 74"/>
                <a:gd name="T57" fmla="*/ 0 h 80"/>
                <a:gd name="T58" fmla="*/ 13 w 74"/>
                <a:gd name="T59" fmla="*/ 1 h 80"/>
                <a:gd name="T60" fmla="*/ 11 w 74"/>
                <a:gd name="T61" fmla="*/ 3 h 80"/>
                <a:gd name="T62" fmla="*/ 10 w 74"/>
                <a:gd name="T63" fmla="*/ 6 h 80"/>
                <a:gd name="T64" fmla="*/ 9 w 74"/>
                <a:gd name="T65" fmla="*/ 8 h 80"/>
                <a:gd name="T66" fmla="*/ 8 w 74"/>
                <a:gd name="T67" fmla="*/ 8 h 80"/>
                <a:gd name="T68" fmla="*/ 8 w 74"/>
                <a:gd name="T69" fmla="*/ 8 h 80"/>
                <a:gd name="T70" fmla="*/ 7 w 74"/>
                <a:gd name="T71" fmla="*/ 8 h 80"/>
                <a:gd name="T72" fmla="*/ 7 w 74"/>
                <a:gd name="T73" fmla="*/ 8 h 80"/>
                <a:gd name="T74" fmla="*/ 7 w 74"/>
                <a:gd name="T75" fmla="*/ 8 h 80"/>
                <a:gd name="T76" fmla="*/ 7 w 74"/>
                <a:gd name="T77" fmla="*/ 8 h 80"/>
                <a:gd name="T78" fmla="*/ 7 w 74"/>
                <a:gd name="T79" fmla="*/ 8 h 80"/>
                <a:gd name="T80" fmla="*/ 7 w 74"/>
                <a:gd name="T81" fmla="*/ 9 h 80"/>
                <a:gd name="T82" fmla="*/ 7 w 74"/>
                <a:gd name="T83" fmla="*/ 9 h 80"/>
                <a:gd name="T84" fmla="*/ 7 w 74"/>
                <a:gd name="T85" fmla="*/ 10 h 80"/>
                <a:gd name="T86" fmla="*/ 7 w 74"/>
                <a:gd name="T87" fmla="*/ 11 h 80"/>
                <a:gd name="T88" fmla="*/ 7 w 74"/>
                <a:gd name="T89" fmla="*/ 12 h 80"/>
                <a:gd name="T90" fmla="*/ 7 w 74"/>
                <a:gd name="T91" fmla="*/ 14 h 80"/>
                <a:gd name="T92" fmla="*/ 7 w 74"/>
                <a:gd name="T93" fmla="*/ 15 h 80"/>
                <a:gd name="T94" fmla="*/ 7 w 74"/>
                <a:gd name="T95" fmla="*/ 17 h 80"/>
                <a:gd name="T96" fmla="*/ 5 w 74"/>
                <a:gd name="T97" fmla="*/ 17 h 80"/>
                <a:gd name="T98" fmla="*/ 3 w 74"/>
                <a:gd name="T99" fmla="*/ 18 h 80"/>
                <a:gd name="T100" fmla="*/ 2 w 74"/>
                <a:gd name="T101" fmla="*/ 18 h 80"/>
                <a:gd name="T102" fmla="*/ 0 w 74"/>
                <a:gd name="T103" fmla="*/ 19 h 80"/>
                <a:gd name="T104" fmla="*/ 0 w 74"/>
                <a:gd name="T105" fmla="*/ 19 h 80"/>
                <a:gd name="T106" fmla="*/ 0 w 74"/>
                <a:gd name="T107" fmla="*/ 19 h 80"/>
                <a:gd name="T108" fmla="*/ 0 w 74"/>
                <a:gd name="T109" fmla="*/ 19 h 80"/>
                <a:gd name="T110" fmla="*/ 0 w 74"/>
                <a:gd name="T111" fmla="*/ 19 h 80"/>
                <a:gd name="T112" fmla="*/ 2 w 74"/>
                <a:gd name="T113" fmla="*/ 19 h 80"/>
                <a:gd name="T114" fmla="*/ 4 w 74"/>
                <a:gd name="T115" fmla="*/ 19 h 8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4"/>
                <a:gd name="T175" fmla="*/ 0 h 80"/>
                <a:gd name="T176" fmla="*/ 74 w 74"/>
                <a:gd name="T177" fmla="*/ 80 h 8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4" h="80">
                  <a:moveTo>
                    <a:pt x="4" y="79"/>
                  </a:moveTo>
                  <a:lnTo>
                    <a:pt x="16" y="79"/>
                  </a:lnTo>
                  <a:lnTo>
                    <a:pt x="25" y="80"/>
                  </a:lnTo>
                  <a:lnTo>
                    <a:pt x="32" y="80"/>
                  </a:lnTo>
                  <a:lnTo>
                    <a:pt x="35" y="79"/>
                  </a:lnTo>
                  <a:lnTo>
                    <a:pt x="39" y="78"/>
                  </a:lnTo>
                  <a:lnTo>
                    <a:pt x="42" y="77"/>
                  </a:lnTo>
                  <a:lnTo>
                    <a:pt x="45" y="74"/>
                  </a:lnTo>
                  <a:lnTo>
                    <a:pt x="50" y="71"/>
                  </a:lnTo>
                  <a:lnTo>
                    <a:pt x="54" y="67"/>
                  </a:lnTo>
                  <a:lnTo>
                    <a:pt x="57" y="62"/>
                  </a:lnTo>
                  <a:lnTo>
                    <a:pt x="59" y="58"/>
                  </a:lnTo>
                  <a:lnTo>
                    <a:pt x="62" y="53"/>
                  </a:lnTo>
                  <a:lnTo>
                    <a:pt x="63" y="47"/>
                  </a:lnTo>
                  <a:lnTo>
                    <a:pt x="65" y="42"/>
                  </a:lnTo>
                  <a:lnTo>
                    <a:pt x="66" y="36"/>
                  </a:lnTo>
                  <a:lnTo>
                    <a:pt x="69" y="30"/>
                  </a:lnTo>
                  <a:lnTo>
                    <a:pt x="71" y="24"/>
                  </a:lnTo>
                  <a:lnTo>
                    <a:pt x="72" y="22"/>
                  </a:lnTo>
                  <a:lnTo>
                    <a:pt x="74" y="19"/>
                  </a:lnTo>
                  <a:lnTo>
                    <a:pt x="74" y="16"/>
                  </a:lnTo>
                  <a:lnTo>
                    <a:pt x="74" y="13"/>
                  </a:lnTo>
                  <a:lnTo>
                    <a:pt x="74" y="10"/>
                  </a:lnTo>
                  <a:lnTo>
                    <a:pt x="73" y="7"/>
                  </a:lnTo>
                  <a:lnTo>
                    <a:pt x="71" y="5"/>
                  </a:lnTo>
                  <a:lnTo>
                    <a:pt x="69" y="3"/>
                  </a:lnTo>
                  <a:lnTo>
                    <a:pt x="66" y="2"/>
                  </a:lnTo>
                  <a:lnTo>
                    <a:pt x="64" y="1"/>
                  </a:lnTo>
                  <a:lnTo>
                    <a:pt x="62" y="0"/>
                  </a:lnTo>
                  <a:lnTo>
                    <a:pt x="59" y="1"/>
                  </a:lnTo>
                  <a:lnTo>
                    <a:pt x="54" y="3"/>
                  </a:lnTo>
                  <a:lnTo>
                    <a:pt x="50" y="6"/>
                  </a:lnTo>
                  <a:lnTo>
                    <a:pt x="47" y="9"/>
                  </a:lnTo>
                  <a:lnTo>
                    <a:pt x="44" y="12"/>
                  </a:lnTo>
                  <a:lnTo>
                    <a:pt x="42" y="16"/>
                  </a:lnTo>
                  <a:lnTo>
                    <a:pt x="40" y="21"/>
                  </a:lnTo>
                  <a:lnTo>
                    <a:pt x="39" y="25"/>
                  </a:lnTo>
                  <a:lnTo>
                    <a:pt x="37" y="30"/>
                  </a:lnTo>
                  <a:lnTo>
                    <a:pt x="37" y="34"/>
                  </a:lnTo>
                  <a:lnTo>
                    <a:pt x="37" y="38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5" y="44"/>
                  </a:lnTo>
                  <a:lnTo>
                    <a:pt x="34" y="46"/>
                  </a:lnTo>
                  <a:lnTo>
                    <a:pt x="28" y="51"/>
                  </a:lnTo>
                  <a:lnTo>
                    <a:pt x="22" y="56"/>
                  </a:lnTo>
                  <a:lnTo>
                    <a:pt x="15" y="62"/>
                  </a:lnTo>
                  <a:lnTo>
                    <a:pt x="8" y="68"/>
                  </a:lnTo>
                  <a:lnTo>
                    <a:pt x="5" y="70"/>
                  </a:lnTo>
                  <a:lnTo>
                    <a:pt x="3" y="72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7"/>
                  </a:lnTo>
                  <a:lnTo>
                    <a:pt x="0" y="78"/>
                  </a:lnTo>
                  <a:lnTo>
                    <a:pt x="2" y="79"/>
                  </a:lnTo>
                  <a:lnTo>
                    <a:pt x="4" y="79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5" name="Rectangle à coins arrondis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68888" y="1138238"/>
            <a:ext cx="2141537" cy="457200"/>
          </a:xfrm>
          <a:prstGeom prst="roundRect">
            <a:avLst>
              <a:gd name="adj" fmla="val 16667"/>
            </a:avLst>
          </a:prstGeom>
          <a:solidFill>
            <a:srgbClr val="FFFFFF">
              <a:alpha val="69803"/>
            </a:srgbClr>
          </a:solidFill>
          <a:ln w="9525">
            <a:solidFill>
              <a:srgbClr val="009EE0"/>
            </a:solidFill>
            <a:round/>
            <a:headEnd/>
            <a:tailEnd/>
          </a:ln>
        </p:spPr>
        <p:txBody>
          <a:bodyPr lIns="97482" tIns="48741" rIns="97482" bIns="48741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6" name="Group 9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181600" y="1263650"/>
            <a:ext cx="1077913" cy="206375"/>
            <a:chOff x="3144" y="768"/>
            <a:chExt cx="679" cy="130"/>
          </a:xfrm>
        </p:grpSpPr>
        <p:sp>
          <p:nvSpPr>
            <p:cNvPr id="27" name="Text Box 36"/>
            <p:cNvSpPr txBox="1">
              <a:spLocks noChangeArrowheads="1"/>
            </p:cNvSpPr>
            <p:nvPr>
              <p:custDataLst>
                <p:tags r:id="rId224"/>
              </p:custDataLst>
            </p:nvPr>
          </p:nvSpPr>
          <p:spPr bwMode="auto">
            <a:xfrm>
              <a:off x="3323" y="768"/>
              <a:ext cx="50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l" defTabSz="914400" eaLnBrk="1" hangingPunct="1">
                <a:lnSpc>
                  <a:spcPct val="90000"/>
                </a:lnSpc>
              </a:pPr>
              <a:r>
                <a:rPr lang="fr-FR" sz="1500">
                  <a:solidFill>
                    <a:srgbClr val="00519E"/>
                  </a:solidFill>
                  <a:latin typeface="Arial Narrow" pitchFamily="34" charset="0"/>
                </a:rPr>
                <a:t>STEF</a:t>
              </a:r>
            </a:p>
          </p:txBody>
        </p:sp>
        <p:sp>
          <p:nvSpPr>
            <p:cNvPr id="28" name="Oval 100"/>
            <p:cNvSpPr>
              <a:spLocks noChangeArrowheads="1"/>
            </p:cNvSpPr>
            <p:nvPr>
              <p:custDataLst>
                <p:tags r:id="rId225"/>
              </p:custDataLst>
            </p:nvPr>
          </p:nvSpPr>
          <p:spPr bwMode="auto">
            <a:xfrm>
              <a:off x="3144" y="776"/>
              <a:ext cx="113" cy="11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1394" tIns="45700" rIns="91394" bIns="45700" anchor="ctr"/>
            <a:lstStyle/>
            <a:p>
              <a:pPr algn="l"/>
              <a:endParaRPr lang="en-US"/>
            </a:p>
          </p:txBody>
        </p:sp>
      </p:grpSp>
      <p:sp>
        <p:nvSpPr>
          <p:cNvPr id="29" name="Text Box 3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70638" y="1262063"/>
            <a:ext cx="944562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l" defTabSz="914400" eaLnBrk="1" hangingPunct="1">
              <a:lnSpc>
                <a:spcPct val="90000"/>
              </a:lnSpc>
            </a:pPr>
            <a:r>
              <a:rPr lang="en-US" sz="1500">
                <a:solidFill>
                  <a:srgbClr val="00519E"/>
                </a:solidFill>
                <a:latin typeface="Arial Narrow" pitchFamily="34" charset="0"/>
              </a:rPr>
              <a:t>Partenaires</a:t>
            </a:r>
          </a:p>
        </p:txBody>
      </p:sp>
      <p:sp>
        <p:nvSpPr>
          <p:cNvPr id="30" name="Oval 10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86475" y="1274763"/>
            <a:ext cx="179388" cy="180975"/>
          </a:xfrm>
          <a:prstGeom prst="ellipse">
            <a:avLst/>
          </a:prstGeom>
          <a:solidFill>
            <a:schemeClr val="bg2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algn="l"/>
            <a:endParaRPr lang="en-US"/>
          </a:p>
        </p:txBody>
      </p:sp>
      <p:sp>
        <p:nvSpPr>
          <p:cNvPr id="31" name="Oval 104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8721725" y="3335338"/>
            <a:ext cx="61913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2" name="Oval 110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auto">
          <a:xfrm>
            <a:off x="6037263" y="2554288"/>
            <a:ext cx="60325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3" name="Oval 111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>
            <a:off x="6557963" y="22145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4" name="Oval 112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auto">
          <a:xfrm>
            <a:off x="6815138" y="1992313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5" name="Oval 113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6062663" y="33004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6" name="Oval 114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>
            <a:off x="5070475" y="60467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7" name="Oval 115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auto">
          <a:xfrm>
            <a:off x="4967288" y="58626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8" name="Oval 116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auto">
          <a:xfrm>
            <a:off x="3475038" y="63658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9" name="Oval 117"/>
          <p:cNvSpPr>
            <a:spLocks noChangeAspect="1" noChangeArrowheads="1"/>
          </p:cNvSpPr>
          <p:nvPr>
            <p:custDataLst>
              <p:tags r:id="rId14"/>
            </p:custDataLst>
          </p:nvPr>
        </p:nvSpPr>
        <p:spPr bwMode="auto">
          <a:xfrm>
            <a:off x="4489450" y="5395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0" name="Oval 118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auto">
          <a:xfrm>
            <a:off x="4479925" y="53101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1" name="Oval 119"/>
          <p:cNvSpPr>
            <a:spLocks noChangeAspect="1" noChangeArrowheads="1"/>
          </p:cNvSpPr>
          <p:nvPr>
            <p:custDataLst>
              <p:tags r:id="rId16"/>
            </p:custDataLst>
          </p:nvPr>
        </p:nvSpPr>
        <p:spPr bwMode="auto">
          <a:xfrm>
            <a:off x="4684713" y="5064125"/>
            <a:ext cx="61912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2" name="Oval 120"/>
          <p:cNvSpPr>
            <a:spLocks noChangeAspect="1" noChangeArrowheads="1"/>
          </p:cNvSpPr>
          <p:nvPr>
            <p:custDataLst>
              <p:tags r:id="rId17"/>
            </p:custDataLst>
          </p:nvPr>
        </p:nvSpPr>
        <p:spPr bwMode="auto">
          <a:xfrm>
            <a:off x="4740275" y="48815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3" name="Oval 121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4953000" y="4633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4" name="Oval 123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5500688" y="49720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5" name="Oval 124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5681663" y="4829175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6" name="Oval 125"/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5756275" y="48561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7" name="Oval 126"/>
          <p:cNvSpPr>
            <a:spLocks noChangeAspect="1" noChangeArrowheads="1"/>
          </p:cNvSpPr>
          <p:nvPr>
            <p:custDataLst>
              <p:tags r:id="rId22"/>
            </p:custDataLst>
          </p:nvPr>
        </p:nvSpPr>
        <p:spPr bwMode="auto">
          <a:xfrm>
            <a:off x="5986463" y="49180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8" name="Oval 127"/>
          <p:cNvSpPr>
            <a:spLocks noChangeAspect="1" noChangeArrowheads="1"/>
          </p:cNvSpPr>
          <p:nvPr>
            <p:custDataLst>
              <p:tags r:id="rId23"/>
            </p:custDataLst>
          </p:nvPr>
        </p:nvSpPr>
        <p:spPr bwMode="auto">
          <a:xfrm>
            <a:off x="5903913" y="5089525"/>
            <a:ext cx="61912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9" name="Oval 128"/>
          <p:cNvSpPr>
            <a:spLocks noChangeAspect="1" noChangeArrowheads="1"/>
          </p:cNvSpPr>
          <p:nvPr>
            <p:custDataLst>
              <p:tags r:id="rId24"/>
            </p:custDataLst>
          </p:nvPr>
        </p:nvSpPr>
        <p:spPr bwMode="auto">
          <a:xfrm>
            <a:off x="5813425" y="50609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0" name="Oval 129"/>
          <p:cNvSpPr>
            <a:spLocks noChangeAspect="1" noChangeArrowheads="1"/>
          </p:cNvSpPr>
          <p:nvPr>
            <p:custDataLst>
              <p:tags r:id="rId25"/>
            </p:custDataLst>
          </p:nvPr>
        </p:nvSpPr>
        <p:spPr bwMode="auto">
          <a:xfrm>
            <a:off x="5595938" y="5407025"/>
            <a:ext cx="61912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1" name="Oval 130"/>
          <p:cNvSpPr>
            <a:spLocks noChangeAspect="1" noChangeArrowheads="1"/>
          </p:cNvSpPr>
          <p:nvPr>
            <p:custDataLst>
              <p:tags r:id="rId26"/>
            </p:custDataLst>
          </p:nvPr>
        </p:nvSpPr>
        <p:spPr bwMode="auto">
          <a:xfrm>
            <a:off x="5519738" y="54673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2" name="Oval 131"/>
          <p:cNvSpPr>
            <a:spLocks noChangeAspect="1" noChangeArrowheads="1"/>
          </p:cNvSpPr>
          <p:nvPr>
            <p:custDataLst>
              <p:tags r:id="rId27"/>
            </p:custDataLst>
          </p:nvPr>
        </p:nvSpPr>
        <p:spPr bwMode="auto">
          <a:xfrm>
            <a:off x="5434013" y="54149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3" name="Oval 132"/>
          <p:cNvSpPr>
            <a:spLocks noChangeAspect="1" noChangeArrowheads="1"/>
          </p:cNvSpPr>
          <p:nvPr>
            <p:custDataLst>
              <p:tags r:id="rId28"/>
            </p:custDataLst>
          </p:nvPr>
        </p:nvSpPr>
        <p:spPr bwMode="auto">
          <a:xfrm>
            <a:off x="5462588" y="532923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4" name="Oval 133"/>
          <p:cNvSpPr>
            <a:spLocks noChangeAspect="1" noChangeArrowheads="1"/>
          </p:cNvSpPr>
          <p:nvPr>
            <p:custDataLst>
              <p:tags r:id="rId29"/>
            </p:custDataLst>
          </p:nvPr>
        </p:nvSpPr>
        <p:spPr bwMode="auto">
          <a:xfrm>
            <a:off x="5551488" y="53292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5" name="Oval 134"/>
          <p:cNvSpPr>
            <a:spLocks noChangeAspect="1" noChangeArrowheads="1"/>
          </p:cNvSpPr>
          <p:nvPr>
            <p:custDataLst>
              <p:tags r:id="rId30"/>
            </p:custDataLst>
          </p:nvPr>
        </p:nvSpPr>
        <p:spPr bwMode="auto">
          <a:xfrm>
            <a:off x="5969000" y="57372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6" name="Oval 135"/>
          <p:cNvSpPr>
            <a:spLocks noChangeAspect="1" noChangeArrowheads="1"/>
          </p:cNvSpPr>
          <p:nvPr>
            <p:custDataLst>
              <p:tags r:id="rId31"/>
            </p:custDataLst>
          </p:nvPr>
        </p:nvSpPr>
        <p:spPr bwMode="auto">
          <a:xfrm>
            <a:off x="6521450" y="5395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7" name="Oval 136"/>
          <p:cNvSpPr>
            <a:spLocks noChangeAspect="1" noChangeArrowheads="1"/>
          </p:cNvSpPr>
          <p:nvPr>
            <p:custDataLst>
              <p:tags r:id="rId32"/>
            </p:custDataLst>
          </p:nvPr>
        </p:nvSpPr>
        <p:spPr bwMode="auto">
          <a:xfrm>
            <a:off x="7793038" y="5768975"/>
            <a:ext cx="60325" cy="6508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8" name="Oval 137"/>
          <p:cNvSpPr>
            <a:spLocks noChangeAspect="1" noChangeArrowheads="1"/>
          </p:cNvSpPr>
          <p:nvPr>
            <p:custDataLst>
              <p:tags r:id="rId33"/>
            </p:custDataLst>
          </p:nvPr>
        </p:nvSpPr>
        <p:spPr bwMode="auto">
          <a:xfrm>
            <a:off x="7729538" y="6048375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9" name="Oval 138"/>
          <p:cNvSpPr>
            <a:spLocks noChangeAspect="1" noChangeArrowheads="1"/>
          </p:cNvSpPr>
          <p:nvPr>
            <p:custDataLst>
              <p:tags r:id="rId34"/>
            </p:custDataLst>
          </p:nvPr>
        </p:nvSpPr>
        <p:spPr bwMode="auto">
          <a:xfrm>
            <a:off x="7519988" y="6511925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0" name="Oval 139"/>
          <p:cNvSpPr>
            <a:spLocks noChangeAspect="1" noChangeArrowheads="1"/>
          </p:cNvSpPr>
          <p:nvPr>
            <p:custDataLst>
              <p:tags r:id="rId35"/>
            </p:custDataLst>
          </p:nvPr>
        </p:nvSpPr>
        <p:spPr bwMode="auto">
          <a:xfrm>
            <a:off x="8497888" y="6399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1" name="Oval 141"/>
          <p:cNvSpPr>
            <a:spLocks noChangeAspect="1" noChangeArrowheads="1"/>
          </p:cNvSpPr>
          <p:nvPr>
            <p:custDataLst>
              <p:tags r:id="rId36"/>
            </p:custDataLst>
          </p:nvPr>
        </p:nvSpPr>
        <p:spPr bwMode="auto">
          <a:xfrm>
            <a:off x="8794750" y="6557963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2" name="Oval 142"/>
          <p:cNvSpPr>
            <a:spLocks noChangeAspect="1" noChangeArrowheads="1"/>
          </p:cNvSpPr>
          <p:nvPr>
            <p:custDataLst>
              <p:tags r:id="rId37"/>
            </p:custDataLst>
          </p:nvPr>
        </p:nvSpPr>
        <p:spPr bwMode="auto">
          <a:xfrm>
            <a:off x="8791575" y="66182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3" name="Oval 143"/>
          <p:cNvSpPr>
            <a:spLocks noChangeAspect="1" noChangeArrowheads="1"/>
          </p:cNvSpPr>
          <p:nvPr>
            <p:custDataLst>
              <p:tags r:id="rId38"/>
            </p:custDataLst>
          </p:nvPr>
        </p:nvSpPr>
        <p:spPr bwMode="auto">
          <a:xfrm>
            <a:off x="8878888" y="64420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4" name="Oval 144"/>
          <p:cNvSpPr>
            <a:spLocks noChangeAspect="1" noChangeArrowheads="1"/>
          </p:cNvSpPr>
          <p:nvPr>
            <p:custDataLst>
              <p:tags r:id="rId39"/>
            </p:custDataLst>
          </p:nvPr>
        </p:nvSpPr>
        <p:spPr bwMode="auto">
          <a:xfrm>
            <a:off x="9117013" y="62484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5" name="Oval 145"/>
          <p:cNvSpPr>
            <a:spLocks noChangeAspect="1" noChangeArrowheads="1"/>
          </p:cNvSpPr>
          <p:nvPr>
            <p:custDataLst>
              <p:tags r:id="rId40"/>
            </p:custDataLst>
          </p:nvPr>
        </p:nvSpPr>
        <p:spPr bwMode="auto">
          <a:xfrm>
            <a:off x="9110663" y="58054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6" name="Oval 146"/>
          <p:cNvSpPr>
            <a:spLocks noChangeAspect="1" noChangeArrowheads="1"/>
          </p:cNvSpPr>
          <p:nvPr>
            <p:custDataLst>
              <p:tags r:id="rId41"/>
            </p:custDataLst>
          </p:nvPr>
        </p:nvSpPr>
        <p:spPr bwMode="auto">
          <a:xfrm>
            <a:off x="8797925" y="58689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7" name="Oval 147"/>
          <p:cNvSpPr>
            <a:spLocks noChangeAspect="1" noChangeArrowheads="1"/>
          </p:cNvSpPr>
          <p:nvPr>
            <p:custDataLst>
              <p:tags r:id="rId42"/>
            </p:custDataLst>
          </p:nvPr>
        </p:nvSpPr>
        <p:spPr bwMode="auto">
          <a:xfrm>
            <a:off x="9172575" y="58388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8" name="Oval 148"/>
          <p:cNvSpPr>
            <a:spLocks noChangeAspect="1" noChangeArrowheads="1"/>
          </p:cNvSpPr>
          <p:nvPr>
            <p:custDataLst>
              <p:tags r:id="rId43"/>
            </p:custDataLst>
          </p:nvPr>
        </p:nvSpPr>
        <p:spPr bwMode="auto">
          <a:xfrm>
            <a:off x="8402638" y="55816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9" name="Oval 149"/>
          <p:cNvSpPr>
            <a:spLocks noChangeAspect="1" noChangeArrowheads="1"/>
          </p:cNvSpPr>
          <p:nvPr>
            <p:custDataLst>
              <p:tags r:id="rId44"/>
            </p:custDataLst>
          </p:nvPr>
        </p:nvSpPr>
        <p:spPr bwMode="auto">
          <a:xfrm>
            <a:off x="8642350" y="54165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0" name="Oval 150"/>
          <p:cNvSpPr>
            <a:spLocks noChangeAspect="1" noChangeArrowheads="1"/>
          </p:cNvSpPr>
          <p:nvPr>
            <p:custDataLst>
              <p:tags r:id="rId45"/>
            </p:custDataLst>
          </p:nvPr>
        </p:nvSpPr>
        <p:spPr bwMode="auto">
          <a:xfrm>
            <a:off x="8256588" y="5241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1" name="Oval 152"/>
          <p:cNvSpPr>
            <a:spLocks noChangeAspect="1" noChangeArrowheads="1"/>
          </p:cNvSpPr>
          <p:nvPr>
            <p:custDataLst>
              <p:tags r:id="rId46"/>
            </p:custDataLst>
          </p:nvPr>
        </p:nvSpPr>
        <p:spPr bwMode="auto">
          <a:xfrm>
            <a:off x="8250238" y="50561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2" name="Oval 153"/>
          <p:cNvSpPr>
            <a:spLocks noChangeAspect="1" noChangeArrowheads="1"/>
          </p:cNvSpPr>
          <p:nvPr>
            <p:custDataLst>
              <p:tags r:id="rId47"/>
            </p:custDataLst>
          </p:nvPr>
        </p:nvSpPr>
        <p:spPr bwMode="auto">
          <a:xfrm>
            <a:off x="8450263" y="48148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3" name="Oval 154"/>
          <p:cNvSpPr>
            <a:spLocks noChangeAspect="1" noChangeArrowheads="1"/>
          </p:cNvSpPr>
          <p:nvPr>
            <p:custDataLst>
              <p:tags r:id="rId48"/>
            </p:custDataLst>
          </p:nvPr>
        </p:nvSpPr>
        <p:spPr bwMode="auto">
          <a:xfrm>
            <a:off x="8645525" y="478313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4" name="Oval 155"/>
          <p:cNvSpPr>
            <a:spLocks noChangeAspect="1" noChangeArrowheads="1"/>
          </p:cNvSpPr>
          <p:nvPr>
            <p:custDataLst>
              <p:tags r:id="rId49"/>
            </p:custDataLst>
          </p:nvPr>
        </p:nvSpPr>
        <p:spPr bwMode="auto">
          <a:xfrm>
            <a:off x="8332788" y="4606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5" name="Oval 156"/>
          <p:cNvSpPr>
            <a:spLocks noChangeAspect="1" noChangeArrowheads="1"/>
          </p:cNvSpPr>
          <p:nvPr>
            <p:custDataLst>
              <p:tags r:id="rId50"/>
            </p:custDataLst>
          </p:nvPr>
        </p:nvSpPr>
        <p:spPr bwMode="auto">
          <a:xfrm>
            <a:off x="8253413" y="4875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6" name="Oval 158"/>
          <p:cNvSpPr>
            <a:spLocks noChangeAspect="1" noChangeArrowheads="1"/>
          </p:cNvSpPr>
          <p:nvPr>
            <p:custDataLst>
              <p:tags r:id="rId51"/>
            </p:custDataLst>
          </p:nvPr>
        </p:nvSpPr>
        <p:spPr bwMode="auto">
          <a:xfrm>
            <a:off x="7900988" y="47672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7" name="Oval 159"/>
          <p:cNvSpPr>
            <a:spLocks noChangeAspect="1" noChangeArrowheads="1"/>
          </p:cNvSpPr>
          <p:nvPr>
            <p:custDataLst>
              <p:tags r:id="rId52"/>
            </p:custDataLst>
          </p:nvPr>
        </p:nvSpPr>
        <p:spPr bwMode="auto">
          <a:xfrm>
            <a:off x="7858125" y="4819650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8" name="Oval 160"/>
          <p:cNvSpPr>
            <a:spLocks noChangeAspect="1" noChangeArrowheads="1"/>
          </p:cNvSpPr>
          <p:nvPr>
            <p:custDataLst>
              <p:tags r:id="rId53"/>
            </p:custDataLst>
          </p:nvPr>
        </p:nvSpPr>
        <p:spPr bwMode="auto">
          <a:xfrm>
            <a:off x="7923213" y="48307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9" name="Oval 161"/>
          <p:cNvSpPr>
            <a:spLocks noChangeAspect="1" noChangeArrowheads="1"/>
          </p:cNvSpPr>
          <p:nvPr>
            <p:custDataLst>
              <p:tags r:id="rId54"/>
            </p:custDataLst>
          </p:nvPr>
        </p:nvSpPr>
        <p:spPr bwMode="auto">
          <a:xfrm>
            <a:off x="8110538" y="4967288"/>
            <a:ext cx="61912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0" name="Oval 162"/>
          <p:cNvSpPr>
            <a:spLocks noChangeAspect="1" noChangeArrowheads="1"/>
          </p:cNvSpPr>
          <p:nvPr>
            <p:custDataLst>
              <p:tags r:id="rId55"/>
            </p:custDataLst>
          </p:nvPr>
        </p:nvSpPr>
        <p:spPr bwMode="auto">
          <a:xfrm>
            <a:off x="8045450" y="49482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1" name="Oval 163"/>
          <p:cNvSpPr>
            <a:spLocks noChangeAspect="1" noChangeArrowheads="1"/>
          </p:cNvSpPr>
          <p:nvPr>
            <p:custDataLst>
              <p:tags r:id="rId56"/>
            </p:custDataLst>
          </p:nvPr>
        </p:nvSpPr>
        <p:spPr bwMode="auto">
          <a:xfrm>
            <a:off x="7916863" y="46132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2" name="Oval 166"/>
          <p:cNvSpPr>
            <a:spLocks noChangeAspect="1" noChangeArrowheads="1"/>
          </p:cNvSpPr>
          <p:nvPr>
            <p:custDataLst>
              <p:tags r:id="rId57"/>
            </p:custDataLst>
          </p:nvPr>
        </p:nvSpPr>
        <p:spPr bwMode="auto">
          <a:xfrm>
            <a:off x="7597775" y="4851400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3" name="Oval 168"/>
          <p:cNvSpPr>
            <a:spLocks noChangeAspect="1" noChangeArrowheads="1"/>
          </p:cNvSpPr>
          <p:nvPr>
            <p:custDataLst>
              <p:tags r:id="rId58"/>
            </p:custDataLst>
          </p:nvPr>
        </p:nvSpPr>
        <p:spPr bwMode="auto">
          <a:xfrm>
            <a:off x="7507288" y="51038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4" name="Oval 169"/>
          <p:cNvSpPr>
            <a:spLocks noChangeAspect="1" noChangeArrowheads="1"/>
          </p:cNvSpPr>
          <p:nvPr>
            <p:custDataLst>
              <p:tags r:id="rId59"/>
            </p:custDataLst>
          </p:nvPr>
        </p:nvSpPr>
        <p:spPr bwMode="auto">
          <a:xfrm>
            <a:off x="7227888" y="50387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5" name="Oval 170"/>
          <p:cNvSpPr>
            <a:spLocks noChangeAspect="1" noChangeArrowheads="1"/>
          </p:cNvSpPr>
          <p:nvPr>
            <p:custDataLst>
              <p:tags r:id="rId60"/>
            </p:custDataLst>
          </p:nvPr>
        </p:nvSpPr>
        <p:spPr bwMode="auto">
          <a:xfrm>
            <a:off x="7321550" y="511968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6" name="Oval 172"/>
          <p:cNvSpPr>
            <a:spLocks noChangeAspect="1" noChangeArrowheads="1"/>
          </p:cNvSpPr>
          <p:nvPr>
            <p:custDataLst>
              <p:tags r:id="rId61"/>
            </p:custDataLst>
          </p:nvPr>
        </p:nvSpPr>
        <p:spPr bwMode="auto">
          <a:xfrm>
            <a:off x="7329488" y="51704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7" name="Oval 173"/>
          <p:cNvSpPr>
            <a:spLocks noChangeAspect="1" noChangeArrowheads="1"/>
          </p:cNvSpPr>
          <p:nvPr>
            <p:custDataLst>
              <p:tags r:id="rId62"/>
            </p:custDataLst>
          </p:nvPr>
        </p:nvSpPr>
        <p:spPr bwMode="auto">
          <a:xfrm>
            <a:off x="7178675" y="50053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8" name="Oval 174"/>
          <p:cNvSpPr>
            <a:spLocks noChangeAspect="1" noChangeArrowheads="1"/>
          </p:cNvSpPr>
          <p:nvPr>
            <p:custDataLst>
              <p:tags r:id="rId63"/>
            </p:custDataLst>
          </p:nvPr>
        </p:nvSpPr>
        <p:spPr bwMode="auto">
          <a:xfrm>
            <a:off x="6791325" y="5097463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9" name="Oval 175"/>
          <p:cNvSpPr>
            <a:spLocks noChangeAspect="1" noChangeArrowheads="1"/>
          </p:cNvSpPr>
          <p:nvPr>
            <p:custDataLst>
              <p:tags r:id="rId64"/>
            </p:custDataLst>
          </p:nvPr>
        </p:nvSpPr>
        <p:spPr bwMode="auto">
          <a:xfrm>
            <a:off x="6937375" y="5019675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0" name="Oval 176"/>
          <p:cNvSpPr>
            <a:spLocks noChangeAspect="1" noChangeArrowheads="1"/>
          </p:cNvSpPr>
          <p:nvPr>
            <p:custDataLst>
              <p:tags r:id="rId65"/>
            </p:custDataLst>
          </p:nvPr>
        </p:nvSpPr>
        <p:spPr bwMode="auto">
          <a:xfrm>
            <a:off x="6500813" y="4910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1" name="Oval 177"/>
          <p:cNvSpPr>
            <a:spLocks noChangeAspect="1" noChangeArrowheads="1"/>
          </p:cNvSpPr>
          <p:nvPr>
            <p:custDataLst>
              <p:tags r:id="rId66"/>
            </p:custDataLst>
          </p:nvPr>
        </p:nvSpPr>
        <p:spPr bwMode="auto">
          <a:xfrm>
            <a:off x="6577013" y="48831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2" name="Oval 178"/>
          <p:cNvSpPr>
            <a:spLocks noChangeAspect="1" noChangeArrowheads="1"/>
          </p:cNvSpPr>
          <p:nvPr>
            <p:custDataLst>
              <p:tags r:id="rId67"/>
            </p:custDataLst>
          </p:nvPr>
        </p:nvSpPr>
        <p:spPr bwMode="auto">
          <a:xfrm>
            <a:off x="6586538" y="47053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3" name="Oval 179"/>
          <p:cNvSpPr>
            <a:spLocks noChangeAspect="1" noChangeArrowheads="1"/>
          </p:cNvSpPr>
          <p:nvPr>
            <p:custDataLst>
              <p:tags r:id="rId68"/>
            </p:custDataLst>
          </p:nvPr>
        </p:nvSpPr>
        <p:spPr bwMode="auto">
          <a:xfrm>
            <a:off x="6618288" y="4748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4" name="Oval 180"/>
          <p:cNvSpPr>
            <a:spLocks noChangeAspect="1" noChangeArrowheads="1"/>
          </p:cNvSpPr>
          <p:nvPr>
            <p:custDataLst>
              <p:tags r:id="rId69"/>
            </p:custDataLst>
          </p:nvPr>
        </p:nvSpPr>
        <p:spPr bwMode="auto">
          <a:xfrm>
            <a:off x="6237288" y="481171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5" name="Oval 181"/>
          <p:cNvSpPr>
            <a:spLocks noChangeAspect="1" noChangeArrowheads="1"/>
          </p:cNvSpPr>
          <p:nvPr>
            <p:custDataLst>
              <p:tags r:id="rId70"/>
            </p:custDataLst>
          </p:nvPr>
        </p:nvSpPr>
        <p:spPr bwMode="auto">
          <a:xfrm>
            <a:off x="6280150" y="4826000"/>
            <a:ext cx="61913" cy="5873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6" name="Oval 182"/>
          <p:cNvSpPr>
            <a:spLocks noChangeAspect="1" noChangeArrowheads="1"/>
          </p:cNvSpPr>
          <p:nvPr>
            <p:custDataLst>
              <p:tags r:id="rId71"/>
            </p:custDataLst>
          </p:nvPr>
        </p:nvSpPr>
        <p:spPr bwMode="auto">
          <a:xfrm>
            <a:off x="6238875" y="4611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7" name="Oval 183"/>
          <p:cNvSpPr>
            <a:spLocks noChangeAspect="1" noChangeArrowheads="1"/>
          </p:cNvSpPr>
          <p:nvPr>
            <p:custDataLst>
              <p:tags r:id="rId72"/>
            </p:custDataLst>
          </p:nvPr>
        </p:nvSpPr>
        <p:spPr bwMode="auto">
          <a:xfrm>
            <a:off x="6275388" y="46180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8" name="Oval 184"/>
          <p:cNvSpPr>
            <a:spLocks noChangeAspect="1" noChangeArrowheads="1"/>
          </p:cNvSpPr>
          <p:nvPr>
            <p:custDataLst>
              <p:tags r:id="rId73"/>
            </p:custDataLst>
          </p:nvPr>
        </p:nvSpPr>
        <p:spPr bwMode="auto">
          <a:xfrm>
            <a:off x="6245225" y="46466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9" name="Oval 185"/>
          <p:cNvSpPr>
            <a:spLocks noChangeAspect="1" noChangeArrowheads="1"/>
          </p:cNvSpPr>
          <p:nvPr>
            <p:custDataLst>
              <p:tags r:id="rId74"/>
            </p:custDataLst>
          </p:nvPr>
        </p:nvSpPr>
        <p:spPr bwMode="auto">
          <a:xfrm>
            <a:off x="6446838" y="4746625"/>
            <a:ext cx="60325" cy="5873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0" name="Oval 186"/>
          <p:cNvSpPr>
            <a:spLocks noChangeAspect="1" noChangeArrowheads="1"/>
          </p:cNvSpPr>
          <p:nvPr>
            <p:custDataLst>
              <p:tags r:id="rId75"/>
            </p:custDataLst>
          </p:nvPr>
        </p:nvSpPr>
        <p:spPr bwMode="auto">
          <a:xfrm>
            <a:off x="6804025" y="4632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1" name="Oval 187"/>
          <p:cNvSpPr>
            <a:spLocks noChangeAspect="1" noChangeArrowheads="1"/>
          </p:cNvSpPr>
          <p:nvPr>
            <p:custDataLst>
              <p:tags r:id="rId76"/>
            </p:custDataLst>
          </p:nvPr>
        </p:nvSpPr>
        <p:spPr bwMode="auto">
          <a:xfrm>
            <a:off x="6888163" y="4632325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2" name="Oval 188"/>
          <p:cNvSpPr>
            <a:spLocks noChangeAspect="1" noChangeArrowheads="1"/>
          </p:cNvSpPr>
          <p:nvPr>
            <p:custDataLst>
              <p:tags r:id="rId77"/>
            </p:custDataLst>
          </p:nvPr>
        </p:nvSpPr>
        <p:spPr bwMode="auto">
          <a:xfrm>
            <a:off x="7027863" y="45783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3" name="Oval 190"/>
          <p:cNvSpPr>
            <a:spLocks noChangeAspect="1" noChangeArrowheads="1"/>
          </p:cNvSpPr>
          <p:nvPr>
            <p:custDataLst>
              <p:tags r:id="rId78"/>
            </p:custDataLst>
          </p:nvPr>
        </p:nvSpPr>
        <p:spPr bwMode="auto">
          <a:xfrm>
            <a:off x="7335838" y="47323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4" name="Oval 191"/>
          <p:cNvSpPr>
            <a:spLocks noChangeAspect="1" noChangeArrowheads="1"/>
          </p:cNvSpPr>
          <p:nvPr>
            <p:custDataLst>
              <p:tags r:id="rId79"/>
            </p:custDataLst>
          </p:nvPr>
        </p:nvSpPr>
        <p:spPr bwMode="auto">
          <a:xfrm>
            <a:off x="7178675" y="4811713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5" name="Oval 193"/>
          <p:cNvSpPr>
            <a:spLocks noChangeAspect="1" noChangeArrowheads="1"/>
          </p:cNvSpPr>
          <p:nvPr>
            <p:custDataLst>
              <p:tags r:id="rId80"/>
            </p:custDataLst>
          </p:nvPr>
        </p:nvSpPr>
        <p:spPr bwMode="auto">
          <a:xfrm>
            <a:off x="7215188" y="48196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6" name="Oval 194"/>
          <p:cNvSpPr>
            <a:spLocks noChangeAspect="1" noChangeArrowheads="1"/>
          </p:cNvSpPr>
          <p:nvPr>
            <p:custDataLst>
              <p:tags r:id="rId81"/>
            </p:custDataLst>
          </p:nvPr>
        </p:nvSpPr>
        <p:spPr bwMode="auto">
          <a:xfrm>
            <a:off x="7329488" y="49339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7" name="Oval 195"/>
          <p:cNvSpPr>
            <a:spLocks noChangeAspect="1" noChangeArrowheads="1"/>
          </p:cNvSpPr>
          <p:nvPr>
            <p:custDataLst>
              <p:tags r:id="rId82"/>
            </p:custDataLst>
          </p:nvPr>
        </p:nvSpPr>
        <p:spPr bwMode="auto">
          <a:xfrm>
            <a:off x="7489825" y="46259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8" name="Oval 197"/>
          <p:cNvSpPr>
            <a:spLocks noChangeAspect="1" noChangeArrowheads="1"/>
          </p:cNvSpPr>
          <p:nvPr>
            <p:custDataLst>
              <p:tags r:id="rId83"/>
            </p:custDataLst>
          </p:nvPr>
        </p:nvSpPr>
        <p:spPr bwMode="auto">
          <a:xfrm>
            <a:off x="7464425" y="451008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9" name="Oval 198"/>
          <p:cNvSpPr>
            <a:spLocks noChangeAspect="1" noChangeArrowheads="1"/>
          </p:cNvSpPr>
          <p:nvPr>
            <p:custDataLst>
              <p:tags r:id="rId84"/>
            </p:custDataLst>
          </p:nvPr>
        </p:nvSpPr>
        <p:spPr bwMode="auto">
          <a:xfrm>
            <a:off x="7591425" y="4506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0" name="Oval 199"/>
          <p:cNvSpPr>
            <a:spLocks noChangeAspect="1" noChangeArrowheads="1"/>
          </p:cNvSpPr>
          <p:nvPr>
            <p:custDataLst>
              <p:tags r:id="rId85"/>
            </p:custDataLst>
          </p:nvPr>
        </p:nvSpPr>
        <p:spPr bwMode="auto">
          <a:xfrm>
            <a:off x="7248525" y="44656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1" name="Oval 200"/>
          <p:cNvSpPr>
            <a:spLocks noChangeAspect="1" noChangeArrowheads="1"/>
          </p:cNvSpPr>
          <p:nvPr>
            <p:custDataLst>
              <p:tags r:id="rId86"/>
            </p:custDataLst>
          </p:nvPr>
        </p:nvSpPr>
        <p:spPr bwMode="auto">
          <a:xfrm>
            <a:off x="7172325" y="44926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2" name="Oval 201"/>
          <p:cNvSpPr>
            <a:spLocks noChangeAspect="1" noChangeArrowheads="1"/>
          </p:cNvSpPr>
          <p:nvPr>
            <p:custDataLst>
              <p:tags r:id="rId87"/>
            </p:custDataLst>
          </p:nvPr>
        </p:nvSpPr>
        <p:spPr bwMode="auto">
          <a:xfrm>
            <a:off x="7346950" y="45021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3" name="Oval 204"/>
          <p:cNvSpPr>
            <a:spLocks noChangeAspect="1" noChangeArrowheads="1"/>
          </p:cNvSpPr>
          <p:nvPr>
            <p:custDataLst>
              <p:tags r:id="rId88"/>
            </p:custDataLst>
          </p:nvPr>
        </p:nvSpPr>
        <p:spPr bwMode="auto">
          <a:xfrm>
            <a:off x="7243763" y="45513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4" name="Oval 205"/>
          <p:cNvSpPr>
            <a:spLocks noChangeAspect="1" noChangeArrowheads="1"/>
          </p:cNvSpPr>
          <p:nvPr>
            <p:custDataLst>
              <p:tags r:id="rId89"/>
            </p:custDataLst>
          </p:nvPr>
        </p:nvSpPr>
        <p:spPr bwMode="auto">
          <a:xfrm>
            <a:off x="6873875" y="44910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5" name="Oval 206"/>
          <p:cNvSpPr>
            <a:spLocks noChangeAspect="1" noChangeArrowheads="1"/>
          </p:cNvSpPr>
          <p:nvPr>
            <p:custDataLst>
              <p:tags r:id="rId90"/>
            </p:custDataLst>
          </p:nvPr>
        </p:nvSpPr>
        <p:spPr bwMode="auto">
          <a:xfrm>
            <a:off x="6345238" y="42672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6" name="Oval 207"/>
          <p:cNvSpPr>
            <a:spLocks noChangeAspect="1" noChangeArrowheads="1"/>
          </p:cNvSpPr>
          <p:nvPr>
            <p:custDataLst>
              <p:tags r:id="rId91"/>
            </p:custDataLst>
          </p:nvPr>
        </p:nvSpPr>
        <p:spPr bwMode="auto">
          <a:xfrm>
            <a:off x="6416675" y="42449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7" name="Oval 208"/>
          <p:cNvSpPr>
            <a:spLocks noChangeAspect="1" noChangeArrowheads="1"/>
          </p:cNvSpPr>
          <p:nvPr>
            <p:custDataLst>
              <p:tags r:id="rId92"/>
            </p:custDataLst>
          </p:nvPr>
        </p:nvSpPr>
        <p:spPr bwMode="auto">
          <a:xfrm>
            <a:off x="6291263" y="43275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8" name="Oval 209"/>
          <p:cNvSpPr>
            <a:spLocks noChangeAspect="1" noChangeArrowheads="1"/>
          </p:cNvSpPr>
          <p:nvPr>
            <p:custDataLst>
              <p:tags r:id="rId93"/>
            </p:custDataLst>
          </p:nvPr>
        </p:nvSpPr>
        <p:spPr bwMode="auto">
          <a:xfrm>
            <a:off x="6443663" y="43989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9" name="Oval 210"/>
          <p:cNvSpPr>
            <a:spLocks noChangeAspect="1" noChangeArrowheads="1"/>
          </p:cNvSpPr>
          <p:nvPr>
            <p:custDataLst>
              <p:tags r:id="rId94"/>
            </p:custDataLst>
          </p:nvPr>
        </p:nvSpPr>
        <p:spPr bwMode="auto">
          <a:xfrm>
            <a:off x="6392863" y="4289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0" name="Oval 212"/>
          <p:cNvSpPr>
            <a:spLocks noChangeAspect="1" noChangeArrowheads="1"/>
          </p:cNvSpPr>
          <p:nvPr>
            <p:custDataLst>
              <p:tags r:id="rId95"/>
            </p:custDataLst>
          </p:nvPr>
        </p:nvSpPr>
        <p:spPr bwMode="auto">
          <a:xfrm>
            <a:off x="6254750" y="40846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1" name="Oval 214"/>
          <p:cNvSpPr>
            <a:spLocks noChangeAspect="1" noChangeArrowheads="1"/>
          </p:cNvSpPr>
          <p:nvPr>
            <p:custDataLst>
              <p:tags r:id="rId96"/>
            </p:custDataLst>
          </p:nvPr>
        </p:nvSpPr>
        <p:spPr bwMode="auto">
          <a:xfrm>
            <a:off x="6323013" y="41671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2" name="Oval 215"/>
          <p:cNvSpPr>
            <a:spLocks noChangeAspect="1" noChangeArrowheads="1"/>
          </p:cNvSpPr>
          <p:nvPr>
            <p:custDataLst>
              <p:tags r:id="rId97"/>
            </p:custDataLst>
          </p:nvPr>
        </p:nvSpPr>
        <p:spPr bwMode="auto">
          <a:xfrm>
            <a:off x="5962650" y="3781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3" name="Oval 216"/>
          <p:cNvSpPr>
            <a:spLocks noChangeAspect="1" noChangeArrowheads="1"/>
          </p:cNvSpPr>
          <p:nvPr>
            <p:custDataLst>
              <p:tags r:id="rId98"/>
            </p:custDataLst>
          </p:nvPr>
        </p:nvSpPr>
        <p:spPr bwMode="auto">
          <a:xfrm>
            <a:off x="5975350" y="37226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4" name="Oval 217"/>
          <p:cNvSpPr>
            <a:spLocks noChangeAspect="1" noChangeArrowheads="1"/>
          </p:cNvSpPr>
          <p:nvPr>
            <p:custDataLst>
              <p:tags r:id="rId99"/>
            </p:custDataLst>
          </p:nvPr>
        </p:nvSpPr>
        <p:spPr bwMode="auto">
          <a:xfrm>
            <a:off x="6042025" y="37560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5" name="Oval 220"/>
          <p:cNvSpPr>
            <a:spLocks noChangeAspect="1" noChangeArrowheads="1"/>
          </p:cNvSpPr>
          <p:nvPr>
            <p:custDataLst>
              <p:tags r:id="rId100"/>
            </p:custDataLst>
          </p:nvPr>
        </p:nvSpPr>
        <p:spPr bwMode="auto">
          <a:xfrm>
            <a:off x="6181725" y="3811588"/>
            <a:ext cx="61913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6" name="Oval 221"/>
          <p:cNvSpPr>
            <a:spLocks noChangeAspect="1" noChangeArrowheads="1"/>
          </p:cNvSpPr>
          <p:nvPr>
            <p:custDataLst>
              <p:tags r:id="rId101"/>
            </p:custDataLst>
          </p:nvPr>
        </p:nvSpPr>
        <p:spPr bwMode="auto">
          <a:xfrm>
            <a:off x="6096000" y="37925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7" name="Oval 222"/>
          <p:cNvSpPr>
            <a:spLocks noChangeAspect="1" noChangeArrowheads="1"/>
          </p:cNvSpPr>
          <p:nvPr>
            <p:custDataLst>
              <p:tags r:id="rId102"/>
            </p:custDataLst>
          </p:nvPr>
        </p:nvSpPr>
        <p:spPr bwMode="auto">
          <a:xfrm>
            <a:off x="6086475" y="3849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8" name="Oval 224"/>
          <p:cNvSpPr>
            <a:spLocks noChangeAspect="1" noChangeArrowheads="1"/>
          </p:cNvSpPr>
          <p:nvPr>
            <p:custDataLst>
              <p:tags r:id="rId103"/>
            </p:custDataLst>
          </p:nvPr>
        </p:nvSpPr>
        <p:spPr bwMode="auto">
          <a:xfrm>
            <a:off x="6191250" y="39354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9" name="Oval 225"/>
          <p:cNvSpPr>
            <a:spLocks noChangeAspect="1" noChangeArrowheads="1"/>
          </p:cNvSpPr>
          <p:nvPr>
            <p:custDataLst>
              <p:tags r:id="rId104"/>
            </p:custDataLst>
          </p:nvPr>
        </p:nvSpPr>
        <p:spPr bwMode="auto">
          <a:xfrm>
            <a:off x="6256338" y="390683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0" name="Oval 226"/>
          <p:cNvSpPr>
            <a:spLocks noChangeAspect="1" noChangeArrowheads="1"/>
          </p:cNvSpPr>
          <p:nvPr>
            <p:custDataLst>
              <p:tags r:id="rId105"/>
            </p:custDataLst>
          </p:nvPr>
        </p:nvSpPr>
        <p:spPr bwMode="auto">
          <a:xfrm>
            <a:off x="6300788" y="39481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1" name="Oval 227"/>
          <p:cNvSpPr>
            <a:spLocks noChangeAspect="1" noChangeArrowheads="1"/>
          </p:cNvSpPr>
          <p:nvPr>
            <p:custDataLst>
              <p:tags r:id="rId106"/>
            </p:custDataLst>
          </p:nvPr>
        </p:nvSpPr>
        <p:spPr bwMode="auto">
          <a:xfrm>
            <a:off x="6318250" y="38750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2" name="Oval 230"/>
          <p:cNvSpPr>
            <a:spLocks noChangeAspect="1" noChangeArrowheads="1"/>
          </p:cNvSpPr>
          <p:nvPr>
            <p:custDataLst>
              <p:tags r:id="rId107"/>
            </p:custDataLst>
          </p:nvPr>
        </p:nvSpPr>
        <p:spPr bwMode="auto">
          <a:xfrm>
            <a:off x="6424613" y="3743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3" name="Oval 232"/>
          <p:cNvSpPr>
            <a:spLocks noChangeAspect="1" noChangeArrowheads="1"/>
          </p:cNvSpPr>
          <p:nvPr>
            <p:custDataLst>
              <p:tags r:id="rId108"/>
            </p:custDataLst>
          </p:nvPr>
        </p:nvSpPr>
        <p:spPr bwMode="auto">
          <a:xfrm>
            <a:off x="6580188" y="3806825"/>
            <a:ext cx="60325" cy="5873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4" name="Oval 233"/>
          <p:cNvSpPr>
            <a:spLocks noChangeAspect="1" noChangeArrowheads="1"/>
          </p:cNvSpPr>
          <p:nvPr>
            <p:custDataLst>
              <p:tags r:id="rId109"/>
            </p:custDataLst>
          </p:nvPr>
        </p:nvSpPr>
        <p:spPr bwMode="auto">
          <a:xfrm>
            <a:off x="6611938" y="3781425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5" name="Oval 234"/>
          <p:cNvSpPr>
            <a:spLocks noChangeAspect="1" noChangeArrowheads="1"/>
          </p:cNvSpPr>
          <p:nvPr>
            <p:custDataLst>
              <p:tags r:id="rId110"/>
            </p:custDataLst>
          </p:nvPr>
        </p:nvSpPr>
        <p:spPr bwMode="auto">
          <a:xfrm>
            <a:off x="6557963" y="39671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6" name="Oval 235"/>
          <p:cNvSpPr>
            <a:spLocks noChangeAspect="1" noChangeArrowheads="1"/>
          </p:cNvSpPr>
          <p:nvPr>
            <p:custDataLst>
              <p:tags r:id="rId111"/>
            </p:custDataLst>
          </p:nvPr>
        </p:nvSpPr>
        <p:spPr bwMode="auto">
          <a:xfrm>
            <a:off x="6370638" y="4035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7" name="Oval 236"/>
          <p:cNvSpPr>
            <a:spLocks noChangeAspect="1" noChangeArrowheads="1"/>
          </p:cNvSpPr>
          <p:nvPr>
            <p:custDataLst>
              <p:tags r:id="rId112"/>
            </p:custDataLst>
          </p:nvPr>
        </p:nvSpPr>
        <p:spPr bwMode="auto">
          <a:xfrm>
            <a:off x="6524625" y="40894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8" name="Oval 237"/>
          <p:cNvSpPr>
            <a:spLocks noChangeAspect="1" noChangeArrowheads="1"/>
          </p:cNvSpPr>
          <p:nvPr>
            <p:custDataLst>
              <p:tags r:id="rId113"/>
            </p:custDataLst>
          </p:nvPr>
        </p:nvSpPr>
        <p:spPr bwMode="auto">
          <a:xfrm>
            <a:off x="6599238" y="40528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9" name="Oval 238"/>
          <p:cNvSpPr>
            <a:spLocks noChangeAspect="1" noChangeArrowheads="1"/>
          </p:cNvSpPr>
          <p:nvPr>
            <p:custDataLst>
              <p:tags r:id="rId114"/>
            </p:custDataLst>
          </p:nvPr>
        </p:nvSpPr>
        <p:spPr bwMode="auto">
          <a:xfrm>
            <a:off x="6604000" y="41513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0" name="Oval 239"/>
          <p:cNvSpPr>
            <a:spLocks noChangeAspect="1" noChangeArrowheads="1"/>
          </p:cNvSpPr>
          <p:nvPr>
            <p:custDataLst>
              <p:tags r:id="rId115"/>
            </p:custDataLst>
          </p:nvPr>
        </p:nvSpPr>
        <p:spPr bwMode="auto">
          <a:xfrm>
            <a:off x="6643688" y="4289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1" name="Oval 240"/>
          <p:cNvSpPr>
            <a:spLocks noChangeAspect="1" noChangeArrowheads="1"/>
          </p:cNvSpPr>
          <p:nvPr>
            <p:custDataLst>
              <p:tags r:id="rId116"/>
            </p:custDataLst>
          </p:nvPr>
        </p:nvSpPr>
        <p:spPr bwMode="auto">
          <a:xfrm>
            <a:off x="6700838" y="4352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2" name="Oval 241"/>
          <p:cNvSpPr>
            <a:spLocks noChangeAspect="1" noChangeArrowheads="1"/>
          </p:cNvSpPr>
          <p:nvPr>
            <p:custDataLst>
              <p:tags r:id="rId117"/>
            </p:custDataLst>
          </p:nvPr>
        </p:nvSpPr>
        <p:spPr bwMode="auto">
          <a:xfrm>
            <a:off x="6829425" y="4352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3" name="Oval 242"/>
          <p:cNvSpPr>
            <a:spLocks noChangeAspect="1" noChangeArrowheads="1"/>
          </p:cNvSpPr>
          <p:nvPr>
            <p:custDataLst>
              <p:tags r:id="rId118"/>
            </p:custDataLst>
          </p:nvPr>
        </p:nvSpPr>
        <p:spPr bwMode="auto">
          <a:xfrm>
            <a:off x="6910388" y="42910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4" name="Oval 243"/>
          <p:cNvSpPr>
            <a:spLocks noChangeAspect="1" noChangeArrowheads="1"/>
          </p:cNvSpPr>
          <p:nvPr>
            <p:custDataLst>
              <p:tags r:id="rId119"/>
            </p:custDataLst>
          </p:nvPr>
        </p:nvSpPr>
        <p:spPr bwMode="auto">
          <a:xfrm>
            <a:off x="7002463" y="42275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5" name="Oval 244"/>
          <p:cNvSpPr>
            <a:spLocks noChangeAspect="1" noChangeArrowheads="1"/>
          </p:cNvSpPr>
          <p:nvPr>
            <p:custDataLst>
              <p:tags r:id="rId120"/>
            </p:custDataLst>
          </p:nvPr>
        </p:nvSpPr>
        <p:spPr bwMode="auto">
          <a:xfrm>
            <a:off x="6799263" y="4124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6" name="Oval 245"/>
          <p:cNvSpPr>
            <a:spLocks noChangeAspect="1" noChangeArrowheads="1"/>
          </p:cNvSpPr>
          <p:nvPr>
            <p:custDataLst>
              <p:tags r:id="rId121"/>
            </p:custDataLst>
          </p:nvPr>
        </p:nvSpPr>
        <p:spPr bwMode="auto">
          <a:xfrm>
            <a:off x="6762750" y="4138613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7" name="Oval 246"/>
          <p:cNvSpPr>
            <a:spLocks noChangeAspect="1" noChangeArrowheads="1"/>
          </p:cNvSpPr>
          <p:nvPr>
            <p:custDataLst>
              <p:tags r:id="rId122"/>
            </p:custDataLst>
          </p:nvPr>
        </p:nvSpPr>
        <p:spPr bwMode="auto">
          <a:xfrm>
            <a:off x="6788150" y="41878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8" name="Oval 247"/>
          <p:cNvSpPr>
            <a:spLocks noChangeAspect="1" noChangeArrowheads="1"/>
          </p:cNvSpPr>
          <p:nvPr>
            <p:custDataLst>
              <p:tags r:id="rId123"/>
            </p:custDataLst>
          </p:nvPr>
        </p:nvSpPr>
        <p:spPr bwMode="auto">
          <a:xfrm>
            <a:off x="6854825" y="4148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9" name="Oval 248"/>
          <p:cNvSpPr>
            <a:spLocks noChangeAspect="1" noChangeArrowheads="1"/>
          </p:cNvSpPr>
          <p:nvPr>
            <p:custDataLst>
              <p:tags r:id="rId124"/>
            </p:custDataLst>
          </p:nvPr>
        </p:nvSpPr>
        <p:spPr bwMode="auto">
          <a:xfrm>
            <a:off x="7273925" y="4297363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0" name="Oval 249"/>
          <p:cNvSpPr>
            <a:spLocks noChangeAspect="1" noChangeArrowheads="1"/>
          </p:cNvSpPr>
          <p:nvPr>
            <p:custDataLst>
              <p:tags r:id="rId125"/>
            </p:custDataLst>
          </p:nvPr>
        </p:nvSpPr>
        <p:spPr bwMode="auto">
          <a:xfrm>
            <a:off x="7177088" y="42243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1" name="Oval 250"/>
          <p:cNvSpPr>
            <a:spLocks noChangeAspect="1" noChangeArrowheads="1"/>
          </p:cNvSpPr>
          <p:nvPr>
            <p:custDataLst>
              <p:tags r:id="rId126"/>
            </p:custDataLst>
          </p:nvPr>
        </p:nvSpPr>
        <p:spPr bwMode="auto">
          <a:xfrm>
            <a:off x="7131050" y="41576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2" name="Oval 251"/>
          <p:cNvSpPr>
            <a:spLocks noChangeAspect="1" noChangeArrowheads="1"/>
          </p:cNvSpPr>
          <p:nvPr>
            <p:custDataLst>
              <p:tags r:id="rId127"/>
            </p:custDataLst>
          </p:nvPr>
        </p:nvSpPr>
        <p:spPr bwMode="auto">
          <a:xfrm>
            <a:off x="7159625" y="40798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3" name="Oval 252"/>
          <p:cNvSpPr>
            <a:spLocks noChangeAspect="1" noChangeArrowheads="1"/>
          </p:cNvSpPr>
          <p:nvPr>
            <p:custDataLst>
              <p:tags r:id="rId128"/>
            </p:custDataLst>
          </p:nvPr>
        </p:nvSpPr>
        <p:spPr bwMode="auto">
          <a:xfrm>
            <a:off x="7264400" y="41227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4" name="Oval 253"/>
          <p:cNvSpPr>
            <a:spLocks noChangeAspect="1" noChangeArrowheads="1"/>
          </p:cNvSpPr>
          <p:nvPr>
            <p:custDataLst>
              <p:tags r:id="rId129"/>
            </p:custDataLst>
          </p:nvPr>
        </p:nvSpPr>
        <p:spPr bwMode="auto">
          <a:xfrm>
            <a:off x="7713663" y="42862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5" name="Oval 254"/>
          <p:cNvSpPr>
            <a:spLocks noChangeAspect="1" noChangeArrowheads="1"/>
          </p:cNvSpPr>
          <p:nvPr>
            <p:custDataLst>
              <p:tags r:id="rId130"/>
            </p:custDataLst>
          </p:nvPr>
        </p:nvSpPr>
        <p:spPr bwMode="auto">
          <a:xfrm>
            <a:off x="7731125" y="419893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6" name="Oval 255"/>
          <p:cNvSpPr>
            <a:spLocks noChangeAspect="1" noChangeArrowheads="1"/>
          </p:cNvSpPr>
          <p:nvPr>
            <p:custDataLst>
              <p:tags r:id="rId131"/>
            </p:custDataLst>
          </p:nvPr>
        </p:nvSpPr>
        <p:spPr bwMode="auto">
          <a:xfrm>
            <a:off x="7807325" y="4108450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7" name="Oval 256"/>
          <p:cNvSpPr>
            <a:spLocks noChangeAspect="1" noChangeArrowheads="1"/>
          </p:cNvSpPr>
          <p:nvPr>
            <p:custDataLst>
              <p:tags r:id="rId132"/>
            </p:custDataLst>
          </p:nvPr>
        </p:nvSpPr>
        <p:spPr bwMode="auto">
          <a:xfrm>
            <a:off x="7834313" y="4070350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8" name="Oval 257"/>
          <p:cNvSpPr>
            <a:spLocks noChangeAspect="1" noChangeArrowheads="1"/>
          </p:cNvSpPr>
          <p:nvPr>
            <p:custDataLst>
              <p:tags r:id="rId133"/>
            </p:custDataLst>
          </p:nvPr>
        </p:nvSpPr>
        <p:spPr bwMode="auto">
          <a:xfrm>
            <a:off x="7661275" y="40655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9" name="Oval 258"/>
          <p:cNvSpPr>
            <a:spLocks noChangeAspect="1" noChangeArrowheads="1"/>
          </p:cNvSpPr>
          <p:nvPr>
            <p:custDataLst>
              <p:tags r:id="rId134"/>
            </p:custDataLst>
          </p:nvPr>
        </p:nvSpPr>
        <p:spPr bwMode="auto">
          <a:xfrm>
            <a:off x="7645400" y="4021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0" name="Oval 259"/>
          <p:cNvSpPr>
            <a:spLocks noChangeAspect="1" noChangeArrowheads="1"/>
          </p:cNvSpPr>
          <p:nvPr>
            <p:custDataLst>
              <p:tags r:id="rId135"/>
            </p:custDataLst>
          </p:nvPr>
        </p:nvSpPr>
        <p:spPr bwMode="auto">
          <a:xfrm>
            <a:off x="7626350" y="39893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1" name="Oval 260"/>
          <p:cNvSpPr>
            <a:spLocks noChangeAspect="1" noChangeArrowheads="1"/>
          </p:cNvSpPr>
          <p:nvPr>
            <p:custDataLst>
              <p:tags r:id="rId136"/>
            </p:custDataLst>
          </p:nvPr>
        </p:nvSpPr>
        <p:spPr bwMode="auto">
          <a:xfrm>
            <a:off x="7608888" y="38957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2" name="Oval 261"/>
          <p:cNvSpPr>
            <a:spLocks noChangeAspect="1" noChangeArrowheads="1"/>
          </p:cNvSpPr>
          <p:nvPr>
            <p:custDataLst>
              <p:tags r:id="rId137"/>
            </p:custDataLst>
          </p:nvPr>
        </p:nvSpPr>
        <p:spPr bwMode="auto">
          <a:xfrm>
            <a:off x="7550150" y="3948113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3" name="Oval 262"/>
          <p:cNvSpPr>
            <a:spLocks noChangeAspect="1" noChangeArrowheads="1"/>
          </p:cNvSpPr>
          <p:nvPr>
            <p:custDataLst>
              <p:tags r:id="rId138"/>
            </p:custDataLst>
          </p:nvPr>
        </p:nvSpPr>
        <p:spPr bwMode="auto">
          <a:xfrm>
            <a:off x="7493000" y="39147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4" name="Oval 263"/>
          <p:cNvSpPr>
            <a:spLocks noChangeAspect="1" noChangeArrowheads="1"/>
          </p:cNvSpPr>
          <p:nvPr>
            <p:custDataLst>
              <p:tags r:id="rId139"/>
            </p:custDataLst>
          </p:nvPr>
        </p:nvSpPr>
        <p:spPr bwMode="auto">
          <a:xfrm>
            <a:off x="7459663" y="38496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5" name="Oval 264"/>
          <p:cNvSpPr>
            <a:spLocks noChangeAspect="1" noChangeArrowheads="1"/>
          </p:cNvSpPr>
          <p:nvPr>
            <p:custDataLst>
              <p:tags r:id="rId140"/>
            </p:custDataLst>
          </p:nvPr>
        </p:nvSpPr>
        <p:spPr bwMode="auto">
          <a:xfrm>
            <a:off x="7473950" y="40592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6" name="Oval 265"/>
          <p:cNvSpPr>
            <a:spLocks noChangeAspect="1" noChangeArrowheads="1"/>
          </p:cNvSpPr>
          <p:nvPr>
            <p:custDataLst>
              <p:tags r:id="rId141"/>
            </p:custDataLst>
          </p:nvPr>
        </p:nvSpPr>
        <p:spPr bwMode="auto">
          <a:xfrm>
            <a:off x="7573963" y="4175125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7" name="Oval 266"/>
          <p:cNvSpPr>
            <a:spLocks noChangeAspect="1" noChangeArrowheads="1"/>
          </p:cNvSpPr>
          <p:nvPr>
            <p:custDataLst>
              <p:tags r:id="rId142"/>
            </p:custDataLst>
          </p:nvPr>
        </p:nvSpPr>
        <p:spPr bwMode="auto">
          <a:xfrm>
            <a:off x="7354888" y="39798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8" name="Oval 267"/>
          <p:cNvSpPr>
            <a:spLocks noChangeAspect="1" noChangeArrowheads="1"/>
          </p:cNvSpPr>
          <p:nvPr>
            <p:custDataLst>
              <p:tags r:id="rId143"/>
            </p:custDataLst>
          </p:nvPr>
        </p:nvSpPr>
        <p:spPr bwMode="auto">
          <a:xfrm>
            <a:off x="7283450" y="39624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9" name="Oval 268"/>
          <p:cNvSpPr>
            <a:spLocks noChangeAspect="1" noChangeArrowheads="1"/>
          </p:cNvSpPr>
          <p:nvPr>
            <p:custDataLst>
              <p:tags r:id="rId144"/>
            </p:custDataLst>
          </p:nvPr>
        </p:nvSpPr>
        <p:spPr bwMode="auto">
          <a:xfrm>
            <a:off x="7312025" y="38433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0" name="Oval 269"/>
          <p:cNvSpPr>
            <a:spLocks noChangeAspect="1" noChangeArrowheads="1"/>
          </p:cNvSpPr>
          <p:nvPr>
            <p:custDataLst>
              <p:tags r:id="rId145"/>
            </p:custDataLst>
          </p:nvPr>
        </p:nvSpPr>
        <p:spPr bwMode="auto">
          <a:xfrm>
            <a:off x="6829425" y="3732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1" name="Oval 270"/>
          <p:cNvSpPr>
            <a:spLocks noChangeAspect="1" noChangeArrowheads="1"/>
          </p:cNvSpPr>
          <p:nvPr>
            <p:custDataLst>
              <p:tags r:id="rId146"/>
            </p:custDataLst>
          </p:nvPr>
        </p:nvSpPr>
        <p:spPr bwMode="auto">
          <a:xfrm>
            <a:off x="6873875" y="37338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2" name="Oval 271"/>
          <p:cNvSpPr>
            <a:spLocks noChangeAspect="1" noChangeArrowheads="1"/>
          </p:cNvSpPr>
          <p:nvPr>
            <p:custDataLst>
              <p:tags r:id="rId147"/>
            </p:custDataLst>
          </p:nvPr>
        </p:nvSpPr>
        <p:spPr bwMode="auto">
          <a:xfrm>
            <a:off x="6856413" y="38369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3" name="Oval 272"/>
          <p:cNvSpPr>
            <a:spLocks noChangeAspect="1" noChangeArrowheads="1"/>
          </p:cNvSpPr>
          <p:nvPr>
            <p:custDataLst>
              <p:tags r:id="rId148"/>
            </p:custDataLst>
          </p:nvPr>
        </p:nvSpPr>
        <p:spPr bwMode="auto">
          <a:xfrm>
            <a:off x="6926263" y="39306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4" name="Oval 273"/>
          <p:cNvSpPr>
            <a:spLocks noChangeAspect="1" noChangeArrowheads="1"/>
          </p:cNvSpPr>
          <p:nvPr>
            <p:custDataLst>
              <p:tags r:id="rId149"/>
            </p:custDataLst>
          </p:nvPr>
        </p:nvSpPr>
        <p:spPr bwMode="auto">
          <a:xfrm>
            <a:off x="7007225" y="39608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5" name="Oval 274"/>
          <p:cNvSpPr>
            <a:spLocks noChangeAspect="1" noChangeArrowheads="1"/>
          </p:cNvSpPr>
          <p:nvPr>
            <p:custDataLst>
              <p:tags r:id="rId150"/>
            </p:custDataLst>
          </p:nvPr>
        </p:nvSpPr>
        <p:spPr bwMode="auto">
          <a:xfrm>
            <a:off x="7080250" y="39846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6" name="Oval 275"/>
          <p:cNvSpPr>
            <a:spLocks noChangeAspect="1" noChangeArrowheads="1"/>
          </p:cNvSpPr>
          <p:nvPr>
            <p:custDataLst>
              <p:tags r:id="rId151"/>
            </p:custDataLst>
          </p:nvPr>
        </p:nvSpPr>
        <p:spPr bwMode="auto">
          <a:xfrm>
            <a:off x="7108825" y="39068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7" name="Oval 276"/>
          <p:cNvSpPr>
            <a:spLocks noChangeAspect="1" noChangeArrowheads="1"/>
          </p:cNvSpPr>
          <p:nvPr>
            <p:custDataLst>
              <p:tags r:id="rId152"/>
            </p:custDataLst>
          </p:nvPr>
        </p:nvSpPr>
        <p:spPr bwMode="auto">
          <a:xfrm>
            <a:off x="7004050" y="39068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8" name="Oval 277"/>
          <p:cNvSpPr>
            <a:spLocks noChangeAspect="1" noChangeArrowheads="1"/>
          </p:cNvSpPr>
          <p:nvPr>
            <p:custDataLst>
              <p:tags r:id="rId153"/>
            </p:custDataLst>
          </p:nvPr>
        </p:nvSpPr>
        <p:spPr bwMode="auto">
          <a:xfrm>
            <a:off x="7151688" y="38925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9" name="Oval 278"/>
          <p:cNvSpPr>
            <a:spLocks noChangeAspect="1" noChangeArrowheads="1"/>
          </p:cNvSpPr>
          <p:nvPr>
            <p:custDataLst>
              <p:tags r:id="rId154"/>
            </p:custDataLst>
          </p:nvPr>
        </p:nvSpPr>
        <p:spPr bwMode="auto">
          <a:xfrm>
            <a:off x="7126288" y="3849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0" name="Oval 279"/>
          <p:cNvSpPr>
            <a:spLocks noChangeAspect="1" noChangeArrowheads="1"/>
          </p:cNvSpPr>
          <p:nvPr>
            <p:custDataLst>
              <p:tags r:id="rId155"/>
            </p:custDataLst>
          </p:nvPr>
        </p:nvSpPr>
        <p:spPr bwMode="auto">
          <a:xfrm>
            <a:off x="7040563" y="3802063"/>
            <a:ext cx="61912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1" name="Oval 280"/>
          <p:cNvSpPr>
            <a:spLocks noChangeAspect="1" noChangeArrowheads="1"/>
          </p:cNvSpPr>
          <p:nvPr>
            <p:custDataLst>
              <p:tags r:id="rId156"/>
            </p:custDataLst>
          </p:nvPr>
        </p:nvSpPr>
        <p:spPr bwMode="auto">
          <a:xfrm>
            <a:off x="7105650" y="3640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2" name="Oval 281"/>
          <p:cNvSpPr>
            <a:spLocks noChangeAspect="1" noChangeArrowheads="1"/>
          </p:cNvSpPr>
          <p:nvPr>
            <p:custDataLst>
              <p:tags r:id="rId157"/>
            </p:custDataLst>
          </p:nvPr>
        </p:nvSpPr>
        <p:spPr bwMode="auto">
          <a:xfrm>
            <a:off x="6977063" y="36290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3" name="Oval 282"/>
          <p:cNvSpPr>
            <a:spLocks noChangeAspect="1" noChangeArrowheads="1"/>
          </p:cNvSpPr>
          <p:nvPr>
            <p:custDataLst>
              <p:tags r:id="rId158"/>
            </p:custDataLst>
          </p:nvPr>
        </p:nvSpPr>
        <p:spPr bwMode="auto">
          <a:xfrm>
            <a:off x="7107238" y="35861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4" name="Oval 283"/>
          <p:cNvSpPr>
            <a:spLocks noChangeAspect="1" noChangeArrowheads="1"/>
          </p:cNvSpPr>
          <p:nvPr>
            <p:custDataLst>
              <p:tags r:id="rId159"/>
            </p:custDataLst>
          </p:nvPr>
        </p:nvSpPr>
        <p:spPr bwMode="auto">
          <a:xfrm>
            <a:off x="7146925" y="36274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5" name="Oval 284"/>
          <p:cNvSpPr>
            <a:spLocks noChangeAspect="1" noChangeArrowheads="1"/>
          </p:cNvSpPr>
          <p:nvPr>
            <p:custDataLst>
              <p:tags r:id="rId160"/>
            </p:custDataLst>
          </p:nvPr>
        </p:nvSpPr>
        <p:spPr bwMode="auto">
          <a:xfrm>
            <a:off x="7096125" y="37052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6" name="Oval 287"/>
          <p:cNvSpPr>
            <a:spLocks noChangeAspect="1" noChangeArrowheads="1"/>
          </p:cNvSpPr>
          <p:nvPr>
            <p:custDataLst>
              <p:tags r:id="rId161"/>
            </p:custDataLst>
          </p:nvPr>
        </p:nvSpPr>
        <p:spPr bwMode="auto">
          <a:xfrm>
            <a:off x="7439025" y="36385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7" name="Oval 288"/>
          <p:cNvSpPr>
            <a:spLocks noChangeAspect="1" noChangeArrowheads="1"/>
          </p:cNvSpPr>
          <p:nvPr>
            <p:custDataLst>
              <p:tags r:id="rId162"/>
            </p:custDataLst>
          </p:nvPr>
        </p:nvSpPr>
        <p:spPr bwMode="auto">
          <a:xfrm>
            <a:off x="7502525" y="32829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8" name="Oval 110"/>
          <p:cNvSpPr>
            <a:spLocks noChangeAspect="1" noChangeArrowheads="1"/>
          </p:cNvSpPr>
          <p:nvPr>
            <p:custDataLst>
              <p:tags r:id="rId163"/>
            </p:custDataLst>
          </p:nvPr>
        </p:nvSpPr>
        <p:spPr bwMode="auto">
          <a:xfrm>
            <a:off x="9253538" y="1989138"/>
            <a:ext cx="61912" cy="63500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9" name="Oval 110"/>
          <p:cNvSpPr>
            <a:spLocks noChangeAspect="1" noChangeArrowheads="1"/>
          </p:cNvSpPr>
          <p:nvPr>
            <p:custDataLst>
              <p:tags r:id="rId164"/>
            </p:custDataLst>
          </p:nvPr>
        </p:nvSpPr>
        <p:spPr bwMode="auto">
          <a:xfrm>
            <a:off x="6848475" y="3152775"/>
            <a:ext cx="60325" cy="63500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0" name="Oval 104"/>
          <p:cNvSpPr>
            <a:spLocks noChangeAspect="1" noChangeArrowheads="1"/>
          </p:cNvSpPr>
          <p:nvPr>
            <p:custDataLst>
              <p:tags r:id="rId165"/>
            </p:custDataLst>
          </p:nvPr>
        </p:nvSpPr>
        <p:spPr bwMode="auto">
          <a:xfrm>
            <a:off x="9077325" y="4256088"/>
            <a:ext cx="61913" cy="60325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1" name="Oval 118"/>
          <p:cNvSpPr>
            <a:spLocks noChangeAspect="1" noChangeArrowheads="1"/>
          </p:cNvSpPr>
          <p:nvPr>
            <p:custDataLst>
              <p:tags r:id="rId166"/>
            </p:custDataLst>
          </p:nvPr>
        </p:nvSpPr>
        <p:spPr bwMode="auto">
          <a:xfrm>
            <a:off x="4556125" y="534193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2" name="Oval 135"/>
          <p:cNvSpPr>
            <a:spLocks noChangeAspect="1" noChangeArrowheads="1"/>
          </p:cNvSpPr>
          <p:nvPr>
            <p:custDataLst>
              <p:tags r:id="rId167"/>
            </p:custDataLst>
          </p:nvPr>
        </p:nvSpPr>
        <p:spPr bwMode="auto">
          <a:xfrm>
            <a:off x="6592888" y="538321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3" name="Oval 135"/>
          <p:cNvSpPr>
            <a:spLocks noChangeAspect="1" noChangeArrowheads="1"/>
          </p:cNvSpPr>
          <p:nvPr>
            <p:custDataLst>
              <p:tags r:id="rId168"/>
            </p:custDataLst>
          </p:nvPr>
        </p:nvSpPr>
        <p:spPr bwMode="auto">
          <a:xfrm>
            <a:off x="6400800" y="54149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4" name="Oval 134"/>
          <p:cNvSpPr>
            <a:spLocks noChangeAspect="1" noChangeArrowheads="1"/>
          </p:cNvSpPr>
          <p:nvPr>
            <p:custDataLst>
              <p:tags r:id="rId169"/>
            </p:custDataLst>
          </p:nvPr>
        </p:nvSpPr>
        <p:spPr bwMode="auto">
          <a:xfrm>
            <a:off x="5867400" y="5940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5" name="Oval 136"/>
          <p:cNvSpPr>
            <a:spLocks noChangeAspect="1" noChangeArrowheads="1"/>
          </p:cNvSpPr>
          <p:nvPr>
            <p:custDataLst>
              <p:tags r:id="rId170"/>
            </p:custDataLst>
          </p:nvPr>
        </p:nvSpPr>
        <p:spPr bwMode="auto">
          <a:xfrm>
            <a:off x="7869238" y="5387975"/>
            <a:ext cx="60325" cy="6508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6" name="Oval 136"/>
          <p:cNvSpPr>
            <a:spLocks noChangeAspect="1" noChangeArrowheads="1"/>
          </p:cNvSpPr>
          <p:nvPr>
            <p:custDataLst>
              <p:tags r:id="rId171"/>
            </p:custDataLst>
          </p:nvPr>
        </p:nvSpPr>
        <p:spPr bwMode="auto">
          <a:xfrm>
            <a:off x="7761288" y="5489575"/>
            <a:ext cx="60325" cy="6508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7" name="Oval 148"/>
          <p:cNvSpPr>
            <a:spLocks noChangeAspect="1" noChangeArrowheads="1"/>
          </p:cNvSpPr>
          <p:nvPr>
            <p:custDataLst>
              <p:tags r:id="rId172"/>
            </p:custDataLst>
          </p:nvPr>
        </p:nvSpPr>
        <p:spPr bwMode="auto">
          <a:xfrm>
            <a:off x="8447088" y="56324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8" name="Oval 153"/>
          <p:cNvSpPr>
            <a:spLocks noChangeAspect="1" noChangeArrowheads="1"/>
          </p:cNvSpPr>
          <p:nvPr>
            <p:custDataLst>
              <p:tags r:id="rId173"/>
            </p:custDataLst>
          </p:nvPr>
        </p:nvSpPr>
        <p:spPr bwMode="auto">
          <a:xfrm>
            <a:off x="8374063" y="48910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9" name="Oval 155"/>
          <p:cNvSpPr>
            <a:spLocks noChangeAspect="1" noChangeArrowheads="1"/>
          </p:cNvSpPr>
          <p:nvPr>
            <p:custDataLst>
              <p:tags r:id="rId174"/>
            </p:custDataLst>
          </p:nvPr>
        </p:nvSpPr>
        <p:spPr bwMode="auto">
          <a:xfrm>
            <a:off x="8281988" y="4702175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0" name="Oval 215"/>
          <p:cNvSpPr>
            <a:spLocks noChangeAspect="1" noChangeArrowheads="1"/>
          </p:cNvSpPr>
          <p:nvPr>
            <p:custDataLst>
              <p:tags r:id="rId175"/>
            </p:custDataLst>
          </p:nvPr>
        </p:nvSpPr>
        <p:spPr bwMode="auto">
          <a:xfrm>
            <a:off x="6027738" y="3733800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1" name="Oval 222"/>
          <p:cNvSpPr>
            <a:spLocks noChangeAspect="1" noChangeArrowheads="1"/>
          </p:cNvSpPr>
          <p:nvPr>
            <p:custDataLst>
              <p:tags r:id="rId176"/>
            </p:custDataLst>
          </p:nvPr>
        </p:nvSpPr>
        <p:spPr bwMode="auto">
          <a:xfrm>
            <a:off x="5983288" y="38576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2" name="Oval 222"/>
          <p:cNvSpPr>
            <a:spLocks noChangeAspect="1" noChangeArrowheads="1"/>
          </p:cNvSpPr>
          <p:nvPr>
            <p:custDataLst>
              <p:tags r:id="rId177"/>
            </p:custDataLst>
          </p:nvPr>
        </p:nvSpPr>
        <p:spPr bwMode="auto">
          <a:xfrm>
            <a:off x="6027738" y="388778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3" name="Oval 219"/>
          <p:cNvSpPr>
            <a:spLocks noChangeAspect="1" noChangeArrowheads="1"/>
          </p:cNvSpPr>
          <p:nvPr>
            <p:custDataLst>
              <p:tags r:id="rId178"/>
            </p:custDataLst>
          </p:nvPr>
        </p:nvSpPr>
        <p:spPr bwMode="auto">
          <a:xfrm>
            <a:off x="6143625" y="37941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4" name="Oval 222"/>
          <p:cNvSpPr>
            <a:spLocks noChangeAspect="1" noChangeArrowheads="1"/>
          </p:cNvSpPr>
          <p:nvPr>
            <p:custDataLst>
              <p:tags r:id="rId179"/>
            </p:custDataLst>
          </p:nvPr>
        </p:nvSpPr>
        <p:spPr bwMode="auto">
          <a:xfrm>
            <a:off x="6011863" y="38385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5" name="Oval 218"/>
          <p:cNvSpPr>
            <a:spLocks noChangeAspect="1" noChangeArrowheads="1"/>
          </p:cNvSpPr>
          <p:nvPr>
            <p:custDataLst>
              <p:tags r:id="rId180"/>
            </p:custDataLst>
          </p:nvPr>
        </p:nvSpPr>
        <p:spPr bwMode="auto">
          <a:xfrm>
            <a:off x="6218238" y="38925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6" name="Oval 223"/>
          <p:cNvSpPr>
            <a:spLocks noChangeAspect="1" noChangeArrowheads="1"/>
          </p:cNvSpPr>
          <p:nvPr>
            <p:custDataLst>
              <p:tags r:id="rId181"/>
            </p:custDataLst>
          </p:nvPr>
        </p:nvSpPr>
        <p:spPr bwMode="auto">
          <a:xfrm>
            <a:off x="6234113" y="395128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7" name="Oval 222"/>
          <p:cNvSpPr>
            <a:spLocks noChangeAspect="1" noChangeArrowheads="1"/>
          </p:cNvSpPr>
          <p:nvPr>
            <p:custDataLst>
              <p:tags r:id="rId182"/>
            </p:custDataLst>
          </p:nvPr>
        </p:nvSpPr>
        <p:spPr bwMode="auto">
          <a:xfrm>
            <a:off x="6126163" y="396398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8" name="Oval 222"/>
          <p:cNvSpPr>
            <a:spLocks noChangeAspect="1" noChangeArrowheads="1"/>
          </p:cNvSpPr>
          <p:nvPr>
            <p:custDataLst>
              <p:tags r:id="rId183"/>
            </p:custDataLst>
          </p:nvPr>
        </p:nvSpPr>
        <p:spPr bwMode="auto">
          <a:xfrm>
            <a:off x="6099175" y="39385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9" name="Oval 213"/>
          <p:cNvSpPr>
            <a:spLocks noChangeAspect="1" noChangeArrowheads="1"/>
          </p:cNvSpPr>
          <p:nvPr>
            <p:custDataLst>
              <p:tags r:id="rId184"/>
            </p:custDataLst>
          </p:nvPr>
        </p:nvSpPr>
        <p:spPr bwMode="auto">
          <a:xfrm>
            <a:off x="6272213" y="41544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0" name="Oval 214"/>
          <p:cNvSpPr>
            <a:spLocks noChangeAspect="1" noChangeArrowheads="1"/>
          </p:cNvSpPr>
          <p:nvPr>
            <p:custDataLst>
              <p:tags r:id="rId185"/>
            </p:custDataLst>
          </p:nvPr>
        </p:nvSpPr>
        <p:spPr bwMode="auto">
          <a:xfrm>
            <a:off x="6310313" y="4125913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1" name="Oval 206"/>
          <p:cNvSpPr>
            <a:spLocks noChangeAspect="1" noChangeArrowheads="1"/>
          </p:cNvSpPr>
          <p:nvPr>
            <p:custDataLst>
              <p:tags r:id="rId186"/>
            </p:custDataLst>
          </p:nvPr>
        </p:nvSpPr>
        <p:spPr bwMode="auto">
          <a:xfrm>
            <a:off x="6248400" y="4230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2" name="Oval 206"/>
          <p:cNvSpPr>
            <a:spLocks noChangeAspect="1" noChangeArrowheads="1"/>
          </p:cNvSpPr>
          <p:nvPr>
            <p:custDataLst>
              <p:tags r:id="rId187"/>
            </p:custDataLst>
          </p:nvPr>
        </p:nvSpPr>
        <p:spPr bwMode="auto">
          <a:xfrm>
            <a:off x="6221413" y="42148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3" name="Oval 229"/>
          <p:cNvSpPr>
            <a:spLocks noChangeAspect="1" noChangeArrowheads="1"/>
          </p:cNvSpPr>
          <p:nvPr>
            <p:custDataLst>
              <p:tags r:id="rId188"/>
            </p:custDataLst>
          </p:nvPr>
        </p:nvSpPr>
        <p:spPr bwMode="auto">
          <a:xfrm>
            <a:off x="6430963" y="3833813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4" name="Oval 229"/>
          <p:cNvSpPr>
            <a:spLocks noChangeAspect="1" noChangeArrowheads="1"/>
          </p:cNvSpPr>
          <p:nvPr>
            <p:custDataLst>
              <p:tags r:id="rId189"/>
            </p:custDataLst>
          </p:nvPr>
        </p:nvSpPr>
        <p:spPr bwMode="auto">
          <a:xfrm>
            <a:off x="6415088" y="3844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5" name="Oval 232"/>
          <p:cNvSpPr>
            <a:spLocks noChangeAspect="1" noChangeArrowheads="1"/>
          </p:cNvSpPr>
          <p:nvPr>
            <p:custDataLst>
              <p:tags r:id="rId190"/>
            </p:custDataLst>
          </p:nvPr>
        </p:nvSpPr>
        <p:spPr bwMode="auto">
          <a:xfrm>
            <a:off x="6561138" y="3773488"/>
            <a:ext cx="61912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6" name="Oval 269"/>
          <p:cNvSpPr>
            <a:spLocks noChangeAspect="1" noChangeArrowheads="1"/>
          </p:cNvSpPr>
          <p:nvPr>
            <p:custDataLst>
              <p:tags r:id="rId191"/>
            </p:custDataLst>
          </p:nvPr>
        </p:nvSpPr>
        <p:spPr bwMode="auto">
          <a:xfrm>
            <a:off x="6854825" y="37004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7" name="Oval 235"/>
          <p:cNvSpPr>
            <a:spLocks noChangeAspect="1" noChangeArrowheads="1"/>
          </p:cNvSpPr>
          <p:nvPr>
            <p:custDataLst>
              <p:tags r:id="rId192"/>
            </p:custDataLst>
          </p:nvPr>
        </p:nvSpPr>
        <p:spPr bwMode="auto">
          <a:xfrm>
            <a:off x="6400800" y="39544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8" name="Oval 235"/>
          <p:cNvSpPr>
            <a:spLocks noChangeAspect="1" noChangeArrowheads="1"/>
          </p:cNvSpPr>
          <p:nvPr>
            <p:custDataLst>
              <p:tags r:id="rId193"/>
            </p:custDataLst>
          </p:nvPr>
        </p:nvSpPr>
        <p:spPr bwMode="auto">
          <a:xfrm>
            <a:off x="6423025" y="40798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9" name="Oval 234"/>
          <p:cNvSpPr>
            <a:spLocks noChangeAspect="1" noChangeArrowheads="1"/>
          </p:cNvSpPr>
          <p:nvPr>
            <p:custDataLst>
              <p:tags r:id="rId194"/>
            </p:custDataLst>
          </p:nvPr>
        </p:nvSpPr>
        <p:spPr bwMode="auto">
          <a:xfrm>
            <a:off x="6503988" y="3986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0" name="Oval 234"/>
          <p:cNvSpPr>
            <a:spLocks noChangeAspect="1" noChangeArrowheads="1"/>
          </p:cNvSpPr>
          <p:nvPr>
            <p:custDataLst>
              <p:tags r:id="rId195"/>
            </p:custDataLst>
          </p:nvPr>
        </p:nvSpPr>
        <p:spPr bwMode="auto">
          <a:xfrm>
            <a:off x="6537325" y="40020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1" name="Oval 237"/>
          <p:cNvSpPr>
            <a:spLocks noChangeAspect="1" noChangeArrowheads="1"/>
          </p:cNvSpPr>
          <p:nvPr>
            <p:custDataLst>
              <p:tags r:id="rId196"/>
            </p:custDataLst>
          </p:nvPr>
        </p:nvSpPr>
        <p:spPr bwMode="auto">
          <a:xfrm>
            <a:off x="6721475" y="39639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2" name="Oval 208"/>
          <p:cNvSpPr>
            <a:spLocks noChangeAspect="1" noChangeArrowheads="1"/>
          </p:cNvSpPr>
          <p:nvPr>
            <p:custDataLst>
              <p:tags r:id="rId197"/>
            </p:custDataLst>
          </p:nvPr>
        </p:nvSpPr>
        <p:spPr bwMode="auto">
          <a:xfrm>
            <a:off x="6223000" y="43068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3" name="Oval 208"/>
          <p:cNvSpPr>
            <a:spLocks noChangeAspect="1" noChangeArrowheads="1"/>
          </p:cNvSpPr>
          <p:nvPr>
            <p:custDataLst>
              <p:tags r:id="rId198"/>
            </p:custDataLst>
          </p:nvPr>
        </p:nvSpPr>
        <p:spPr bwMode="auto">
          <a:xfrm>
            <a:off x="6223000" y="43481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4" name="Oval 209"/>
          <p:cNvSpPr>
            <a:spLocks noChangeAspect="1" noChangeArrowheads="1"/>
          </p:cNvSpPr>
          <p:nvPr>
            <p:custDataLst>
              <p:tags r:id="rId199"/>
            </p:custDataLst>
          </p:nvPr>
        </p:nvSpPr>
        <p:spPr bwMode="auto">
          <a:xfrm>
            <a:off x="6435725" y="45021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5" name="Oval 209"/>
          <p:cNvSpPr>
            <a:spLocks noChangeAspect="1" noChangeArrowheads="1"/>
          </p:cNvSpPr>
          <p:nvPr>
            <p:custDataLst>
              <p:tags r:id="rId200"/>
            </p:custDataLst>
          </p:nvPr>
        </p:nvSpPr>
        <p:spPr bwMode="auto">
          <a:xfrm>
            <a:off x="6491288" y="45021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6" name="Oval 176"/>
          <p:cNvSpPr>
            <a:spLocks noChangeAspect="1" noChangeArrowheads="1"/>
          </p:cNvSpPr>
          <p:nvPr>
            <p:custDataLst>
              <p:tags r:id="rId201"/>
            </p:custDataLst>
          </p:nvPr>
        </p:nvSpPr>
        <p:spPr bwMode="auto">
          <a:xfrm>
            <a:off x="6305550" y="4906963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7" name="Oval 185"/>
          <p:cNvSpPr>
            <a:spLocks noChangeAspect="1" noChangeArrowheads="1"/>
          </p:cNvSpPr>
          <p:nvPr>
            <p:custDataLst>
              <p:tags r:id="rId202"/>
            </p:custDataLst>
          </p:nvPr>
        </p:nvSpPr>
        <p:spPr bwMode="auto">
          <a:xfrm>
            <a:off x="6423025" y="47323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8" name="Oval 169"/>
          <p:cNvSpPr>
            <a:spLocks noChangeAspect="1" noChangeArrowheads="1"/>
          </p:cNvSpPr>
          <p:nvPr>
            <p:custDataLst>
              <p:tags r:id="rId203"/>
            </p:custDataLst>
          </p:nvPr>
        </p:nvSpPr>
        <p:spPr bwMode="auto">
          <a:xfrm>
            <a:off x="7278688" y="51387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9" name="Oval 202"/>
          <p:cNvSpPr>
            <a:spLocks noChangeAspect="1" noChangeArrowheads="1"/>
          </p:cNvSpPr>
          <p:nvPr>
            <p:custDataLst>
              <p:tags r:id="rId204"/>
            </p:custDataLst>
          </p:nvPr>
        </p:nvSpPr>
        <p:spPr bwMode="auto">
          <a:xfrm>
            <a:off x="7250113" y="46275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0" name="Oval 203"/>
          <p:cNvSpPr>
            <a:spLocks noChangeAspect="1" noChangeArrowheads="1"/>
          </p:cNvSpPr>
          <p:nvPr>
            <p:custDataLst>
              <p:tags r:id="rId205"/>
            </p:custDataLst>
          </p:nvPr>
        </p:nvSpPr>
        <p:spPr bwMode="auto">
          <a:xfrm>
            <a:off x="7272338" y="45910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1" name="Oval 202"/>
          <p:cNvSpPr>
            <a:spLocks noChangeAspect="1" noChangeArrowheads="1"/>
          </p:cNvSpPr>
          <p:nvPr>
            <p:custDataLst>
              <p:tags r:id="rId206"/>
            </p:custDataLst>
          </p:nvPr>
        </p:nvSpPr>
        <p:spPr bwMode="auto">
          <a:xfrm>
            <a:off x="7194550" y="45434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2" name="Oval 202"/>
          <p:cNvSpPr>
            <a:spLocks noChangeAspect="1" noChangeArrowheads="1"/>
          </p:cNvSpPr>
          <p:nvPr>
            <p:custDataLst>
              <p:tags r:id="rId207"/>
            </p:custDataLst>
          </p:nvPr>
        </p:nvSpPr>
        <p:spPr bwMode="auto">
          <a:xfrm>
            <a:off x="7169150" y="45783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3" name="Oval 202"/>
          <p:cNvSpPr>
            <a:spLocks noChangeAspect="1" noChangeArrowheads="1"/>
          </p:cNvSpPr>
          <p:nvPr>
            <p:custDataLst>
              <p:tags r:id="rId208"/>
            </p:custDataLst>
          </p:nvPr>
        </p:nvSpPr>
        <p:spPr bwMode="auto">
          <a:xfrm>
            <a:off x="7199313" y="46275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4" name="Oval 202"/>
          <p:cNvSpPr>
            <a:spLocks noChangeAspect="1" noChangeArrowheads="1"/>
          </p:cNvSpPr>
          <p:nvPr>
            <p:custDataLst>
              <p:tags r:id="rId209"/>
            </p:custDataLst>
          </p:nvPr>
        </p:nvSpPr>
        <p:spPr bwMode="auto">
          <a:xfrm>
            <a:off x="7104063" y="46466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5" name="Oval 201"/>
          <p:cNvSpPr>
            <a:spLocks noChangeAspect="1" noChangeArrowheads="1"/>
          </p:cNvSpPr>
          <p:nvPr>
            <p:custDataLst>
              <p:tags r:id="rId210"/>
            </p:custDataLst>
          </p:nvPr>
        </p:nvSpPr>
        <p:spPr bwMode="auto">
          <a:xfrm>
            <a:off x="7219950" y="45862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6" name="Oval 285"/>
          <p:cNvSpPr>
            <a:spLocks noChangeAspect="1" noChangeArrowheads="1"/>
          </p:cNvSpPr>
          <p:nvPr>
            <p:custDataLst>
              <p:tags r:id="rId211"/>
            </p:custDataLst>
          </p:nvPr>
        </p:nvSpPr>
        <p:spPr bwMode="auto">
          <a:xfrm>
            <a:off x="7000875" y="3489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7" name="Oval 285"/>
          <p:cNvSpPr>
            <a:spLocks noChangeAspect="1" noChangeArrowheads="1"/>
          </p:cNvSpPr>
          <p:nvPr>
            <p:custDataLst>
              <p:tags r:id="rId212"/>
            </p:custDataLst>
          </p:nvPr>
        </p:nvSpPr>
        <p:spPr bwMode="auto">
          <a:xfrm>
            <a:off x="7040563" y="34861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8" name="Oval 279"/>
          <p:cNvSpPr>
            <a:spLocks noChangeAspect="1" noChangeArrowheads="1"/>
          </p:cNvSpPr>
          <p:nvPr>
            <p:custDataLst>
              <p:tags r:id="rId213"/>
            </p:custDataLst>
          </p:nvPr>
        </p:nvSpPr>
        <p:spPr bwMode="auto">
          <a:xfrm>
            <a:off x="6956425" y="3871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9" name="Oval 284"/>
          <p:cNvSpPr>
            <a:spLocks noChangeAspect="1" noChangeArrowheads="1"/>
          </p:cNvSpPr>
          <p:nvPr>
            <p:custDataLst>
              <p:tags r:id="rId214"/>
            </p:custDataLst>
          </p:nvPr>
        </p:nvSpPr>
        <p:spPr bwMode="auto">
          <a:xfrm>
            <a:off x="7027863" y="37052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0" name="Oval 248"/>
          <p:cNvSpPr>
            <a:spLocks noChangeAspect="1" noChangeArrowheads="1"/>
          </p:cNvSpPr>
          <p:nvPr>
            <p:custDataLst>
              <p:tags r:id="rId215"/>
            </p:custDataLst>
          </p:nvPr>
        </p:nvSpPr>
        <p:spPr bwMode="auto">
          <a:xfrm>
            <a:off x="7335838" y="42227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1" name="Oval 256"/>
          <p:cNvSpPr>
            <a:spLocks noChangeAspect="1" noChangeArrowheads="1"/>
          </p:cNvSpPr>
          <p:nvPr>
            <p:custDataLst>
              <p:tags r:id="rId216"/>
            </p:custDataLst>
          </p:nvPr>
        </p:nvSpPr>
        <p:spPr bwMode="auto">
          <a:xfrm>
            <a:off x="7796213" y="40703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2" name="Oval 261"/>
          <p:cNvSpPr>
            <a:spLocks noChangeAspect="1" noChangeArrowheads="1"/>
          </p:cNvSpPr>
          <p:nvPr>
            <p:custDataLst>
              <p:tags r:id="rId217"/>
            </p:custDataLst>
          </p:nvPr>
        </p:nvSpPr>
        <p:spPr bwMode="auto">
          <a:xfrm>
            <a:off x="7648575" y="3925888"/>
            <a:ext cx="61913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3" name="Oval 110"/>
          <p:cNvSpPr>
            <a:spLocks noChangeAspect="1" noChangeArrowheads="1"/>
          </p:cNvSpPr>
          <p:nvPr>
            <p:custDataLst>
              <p:tags r:id="rId218"/>
            </p:custDataLst>
          </p:nvPr>
        </p:nvSpPr>
        <p:spPr bwMode="auto">
          <a:xfrm>
            <a:off x="8640763" y="1660525"/>
            <a:ext cx="61912" cy="63500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4" name="Oval 287"/>
          <p:cNvSpPr>
            <a:spLocks noChangeAspect="1" noChangeArrowheads="1"/>
          </p:cNvSpPr>
          <p:nvPr>
            <p:custDataLst>
              <p:tags r:id="rId219"/>
            </p:custDataLst>
          </p:nvPr>
        </p:nvSpPr>
        <p:spPr bwMode="auto">
          <a:xfrm>
            <a:off x="7369175" y="35877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5" name="Oval 104"/>
          <p:cNvSpPr>
            <a:spLocks noChangeAspect="1" noChangeArrowheads="1"/>
          </p:cNvSpPr>
          <p:nvPr>
            <p:custDataLst>
              <p:tags r:id="rId220"/>
            </p:custDataLst>
          </p:nvPr>
        </p:nvSpPr>
        <p:spPr bwMode="auto">
          <a:xfrm>
            <a:off x="8658225" y="2674938"/>
            <a:ext cx="60325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6" name="Oval 104"/>
          <p:cNvSpPr>
            <a:spLocks noChangeAspect="1" noChangeArrowheads="1"/>
          </p:cNvSpPr>
          <p:nvPr>
            <p:custDataLst>
              <p:tags r:id="rId221"/>
            </p:custDataLst>
          </p:nvPr>
        </p:nvSpPr>
        <p:spPr bwMode="auto">
          <a:xfrm>
            <a:off x="8870950" y="3846513"/>
            <a:ext cx="61913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7" name="Oval 104"/>
          <p:cNvSpPr>
            <a:spLocks noChangeAspect="1" noChangeArrowheads="1"/>
          </p:cNvSpPr>
          <p:nvPr>
            <p:custDataLst>
              <p:tags r:id="rId222"/>
            </p:custDataLst>
          </p:nvPr>
        </p:nvSpPr>
        <p:spPr bwMode="auto">
          <a:xfrm>
            <a:off x="8820150" y="4713288"/>
            <a:ext cx="61913" cy="60325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8" name="Oval 104"/>
          <p:cNvSpPr>
            <a:spLocks noChangeAspect="1" noChangeArrowheads="1"/>
          </p:cNvSpPr>
          <p:nvPr>
            <p:custDataLst>
              <p:tags r:id="rId223"/>
            </p:custDataLst>
          </p:nvPr>
        </p:nvSpPr>
        <p:spPr bwMode="auto">
          <a:xfrm>
            <a:off x="9101138" y="4732338"/>
            <a:ext cx="61912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grpSp>
        <p:nvGrpSpPr>
          <p:cNvPr id="249" name="Group 265"/>
          <p:cNvGrpSpPr>
            <a:grpSpLocks/>
          </p:cNvGrpSpPr>
          <p:nvPr/>
        </p:nvGrpSpPr>
        <p:grpSpPr bwMode="auto">
          <a:xfrm>
            <a:off x="-204788" y="900113"/>
            <a:ext cx="3267076" cy="3590925"/>
            <a:chOff x="-129" y="567"/>
            <a:chExt cx="1971" cy="1971"/>
          </a:xfrm>
        </p:grpSpPr>
        <p:pic>
          <p:nvPicPr>
            <p:cNvPr id="250" name="Image 3"/>
            <p:cNvPicPr>
              <a:picLocks noChangeAspect="1"/>
            </p:cNvPicPr>
            <p:nvPr/>
          </p:nvPicPr>
          <p:blipFill>
            <a:blip r:embed="rId2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9" y="567"/>
              <a:ext cx="1971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1" name="ZoneTexte 13"/>
            <p:cNvSpPr txBox="1">
              <a:spLocks noChangeArrowheads="1"/>
            </p:cNvSpPr>
            <p:nvPr/>
          </p:nvSpPr>
          <p:spPr bwMode="auto">
            <a:xfrm>
              <a:off x="364" y="941"/>
              <a:ext cx="984" cy="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eaLnBrk="1" hangingPunct="1"/>
              <a:r>
                <a:rPr lang="fr-FR" sz="2500" b="1">
                  <a:solidFill>
                    <a:schemeClr val="tx2"/>
                  </a:solidFill>
                </a:rPr>
                <a:t>216 sites en Europe</a:t>
              </a:r>
            </a:p>
          </p:txBody>
        </p:sp>
        <p:sp>
          <p:nvSpPr>
            <p:cNvPr id="252" name="ZoneTexte 14"/>
            <p:cNvSpPr txBox="1">
              <a:spLocks noChangeArrowheads="1"/>
            </p:cNvSpPr>
            <p:nvPr/>
          </p:nvSpPr>
          <p:spPr bwMode="auto">
            <a:xfrm>
              <a:off x="266" y="1614"/>
              <a:ext cx="1236" cy="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6 148 000 m</a:t>
              </a:r>
              <a:r>
                <a:rPr lang="en-US" sz="1600" b="1" baseline="30000" dirty="0">
                  <a:solidFill>
                    <a:schemeClr val="bg1"/>
                  </a:solidFill>
                </a:rPr>
                <a:t>3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200" dirty="0">
                  <a:solidFill>
                    <a:schemeClr val="bg1"/>
                  </a:solidFill>
                </a:rPr>
                <a:t>de volume </a:t>
              </a:r>
              <a:r>
                <a:rPr lang="en-US" sz="1200" dirty="0" err="1">
                  <a:solidFill>
                    <a:schemeClr val="bg1"/>
                  </a:solidFill>
                </a:rPr>
                <a:t>d’entreposage</a:t>
              </a:r>
              <a:endParaRPr lang="en-US" sz="1400" dirty="0">
                <a:solidFill>
                  <a:schemeClr val="bg1"/>
                </a:solidFill>
              </a:endParaRPr>
            </a:p>
            <a:p>
              <a:pPr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433 400 m</a:t>
              </a:r>
              <a:r>
                <a:rPr lang="en-US" sz="1600" b="1" baseline="30000" dirty="0">
                  <a:solidFill>
                    <a:schemeClr val="bg1"/>
                  </a:solidFill>
                </a:rPr>
                <a:t>2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</a:p>
            <a:p>
              <a:pPr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200" dirty="0">
                  <a:solidFill>
                    <a:schemeClr val="bg1"/>
                  </a:solidFill>
                </a:rPr>
                <a:t>de surface de </a:t>
              </a:r>
              <a:r>
                <a:rPr lang="en-US" sz="1200" dirty="0" err="1">
                  <a:solidFill>
                    <a:schemeClr val="bg1"/>
                  </a:solidFill>
                </a:rPr>
                <a:t>quai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3" name="Group 266"/>
          <p:cNvGrpSpPr>
            <a:grpSpLocks/>
          </p:cNvGrpSpPr>
          <p:nvPr/>
        </p:nvGrpSpPr>
        <p:grpSpPr bwMode="auto">
          <a:xfrm>
            <a:off x="2214563" y="2212975"/>
            <a:ext cx="2903537" cy="2957513"/>
            <a:chOff x="1491" y="1498"/>
            <a:chExt cx="1638" cy="1638"/>
          </a:xfrm>
        </p:grpSpPr>
        <p:pic>
          <p:nvPicPr>
            <p:cNvPr id="254" name="Image 10"/>
            <p:cNvPicPr>
              <a:picLocks noChangeAspect="1"/>
            </p:cNvPicPr>
            <p:nvPr/>
          </p:nvPicPr>
          <p:blipFill>
            <a:blip r:embed="rId2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1" y="1498"/>
              <a:ext cx="1638" cy="1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5" name="ZoneTexte 13"/>
            <p:cNvSpPr txBox="1">
              <a:spLocks noChangeArrowheads="1"/>
            </p:cNvSpPr>
            <p:nvPr/>
          </p:nvSpPr>
          <p:spPr bwMode="auto">
            <a:xfrm>
              <a:off x="1837" y="1804"/>
              <a:ext cx="1078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eaLnBrk="1" hangingPunct="1"/>
              <a:r>
                <a:rPr lang="en-US" sz="2500" b="1" dirty="0">
                  <a:solidFill>
                    <a:schemeClr val="accent1"/>
                  </a:solidFill>
                </a:rPr>
                <a:t>14.500 </a:t>
              </a:r>
              <a:r>
                <a:rPr lang="en-US" sz="2500" b="1" dirty="0" err="1">
                  <a:solidFill>
                    <a:schemeClr val="accent1"/>
                  </a:solidFill>
                </a:rPr>
                <a:t>salariés</a:t>
              </a:r>
              <a:r>
                <a:rPr lang="en-US" sz="2500" b="1" dirty="0">
                  <a:solidFill>
                    <a:schemeClr val="accent1"/>
                  </a:solidFill>
                </a:rPr>
                <a:t> </a:t>
              </a:r>
            </a:p>
          </p:txBody>
        </p:sp>
        <p:sp>
          <p:nvSpPr>
            <p:cNvPr id="256" name="ZoneTexte 14"/>
            <p:cNvSpPr txBox="1">
              <a:spLocks noChangeArrowheads="1"/>
            </p:cNvSpPr>
            <p:nvPr/>
          </p:nvSpPr>
          <p:spPr bwMode="auto">
            <a:xfrm>
              <a:off x="1854" y="2475"/>
              <a:ext cx="983" cy="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2000" b="1" dirty="0">
                  <a:solidFill>
                    <a:schemeClr val="bg1"/>
                  </a:solidFill>
                </a:rPr>
                <a:t>9 pays </a:t>
              </a:r>
              <a:endParaRPr lang="fr-FR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7" name="Group 257"/>
          <p:cNvGrpSpPr>
            <a:grpSpLocks/>
          </p:cNvGrpSpPr>
          <p:nvPr/>
        </p:nvGrpSpPr>
        <p:grpSpPr bwMode="auto">
          <a:xfrm>
            <a:off x="28575" y="3870325"/>
            <a:ext cx="2947988" cy="3035300"/>
            <a:chOff x="1582" y="2718"/>
            <a:chExt cx="1638" cy="1638"/>
          </a:xfrm>
        </p:grpSpPr>
        <p:pic>
          <p:nvPicPr>
            <p:cNvPr id="258" name="Image 11"/>
            <p:cNvPicPr>
              <a:picLocks noChangeAspect="1"/>
            </p:cNvPicPr>
            <p:nvPr/>
          </p:nvPicPr>
          <p:blipFill>
            <a:blip r:embed="rId2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2" y="2718"/>
              <a:ext cx="1638" cy="1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9" name="ZoneTexte 13"/>
            <p:cNvSpPr txBox="1">
              <a:spLocks noChangeArrowheads="1"/>
            </p:cNvSpPr>
            <p:nvPr/>
          </p:nvSpPr>
          <p:spPr bwMode="auto">
            <a:xfrm>
              <a:off x="1971" y="3024"/>
              <a:ext cx="983" cy="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eaLnBrk="1" hangingPunct="1"/>
              <a:r>
                <a:rPr lang="en-US" sz="2500" b="1" dirty="0">
                  <a:solidFill>
                    <a:srgbClr val="5ECA5E"/>
                  </a:solidFill>
                </a:rPr>
                <a:t>4.000 </a:t>
              </a:r>
              <a:r>
                <a:rPr lang="en-US" sz="2500" b="1" dirty="0" err="1">
                  <a:solidFill>
                    <a:srgbClr val="5ECA5E"/>
                  </a:solidFill>
                </a:rPr>
                <a:t>véhicules</a:t>
              </a:r>
              <a:endParaRPr lang="en-US" sz="2500" b="1" dirty="0">
                <a:solidFill>
                  <a:srgbClr val="5ECA5E"/>
                </a:solidFill>
              </a:endParaRPr>
            </a:p>
          </p:txBody>
        </p:sp>
        <p:sp>
          <p:nvSpPr>
            <p:cNvPr id="260" name="ZoneTexte 14"/>
            <p:cNvSpPr txBox="1">
              <a:spLocks noChangeArrowheads="1"/>
            </p:cNvSpPr>
            <p:nvPr/>
          </p:nvSpPr>
          <p:spPr bwMode="auto">
            <a:xfrm>
              <a:off x="1971" y="3619"/>
              <a:ext cx="983" cy="3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eaLnBrk="1" hangingPunct="1"/>
              <a:r>
                <a:rPr lang="en-US" b="1" dirty="0">
                  <a:solidFill>
                    <a:schemeClr val="bg1"/>
                  </a:solidFill>
                </a:rPr>
                <a:t>50% </a:t>
              </a:r>
              <a:r>
                <a:rPr lang="en-US" b="1" dirty="0" err="1">
                  <a:solidFill>
                    <a:schemeClr val="bg1"/>
                  </a:solidFill>
                </a:rPr>
                <a:t>détenus</a:t>
              </a:r>
              <a:r>
                <a:rPr lang="en-US" b="1" dirty="0">
                  <a:solidFill>
                    <a:schemeClr val="bg1"/>
                  </a:solidFill>
                </a:rPr>
                <a:t> en </a:t>
              </a:r>
              <a:r>
                <a:rPr lang="en-US" b="1" dirty="0" err="1">
                  <a:solidFill>
                    <a:schemeClr val="bg1"/>
                  </a:solidFill>
                </a:rPr>
                <a:t>propre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2802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sp>
        <p:nvSpPr>
          <p:cNvPr id="46086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5826E283-9C57-41CB-98DC-F451E9BA9523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6</a:t>
            </a:fld>
            <a:endParaRPr lang="fr-FR" sz="900" b="1">
              <a:solidFill>
                <a:srgbClr val="9B9B9B"/>
              </a:solidFill>
            </a:endParaRP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>
                  <a:solidFill>
                    <a:srgbClr val="00519E"/>
                  </a:solidFill>
                  <a:latin typeface="Arial Narrow" pitchFamily="34" charset="0"/>
                </a:rPr>
                <a:t>Le groupe STEF </a:t>
              </a:r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(3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4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1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6700" y="4752975"/>
            <a:ext cx="2020888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58" tIns="48729" rIns="97458" bIns="48729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b="1">
                <a:solidFill>
                  <a:schemeClr val="tx2"/>
                </a:solidFill>
              </a:rPr>
              <a:t>Opérationnel</a:t>
            </a:r>
          </a:p>
        </p:txBody>
      </p:sp>
      <p:grpSp>
        <p:nvGrpSpPr>
          <p:cNvPr id="15" name="Group 50"/>
          <p:cNvGrpSpPr>
            <a:grpSpLocks/>
          </p:cNvGrpSpPr>
          <p:nvPr/>
        </p:nvGrpSpPr>
        <p:grpSpPr bwMode="auto">
          <a:xfrm>
            <a:off x="1846263" y="3930650"/>
            <a:ext cx="5745162" cy="1854200"/>
            <a:chOff x="1163" y="2476"/>
            <a:chExt cx="3619" cy="1168"/>
          </a:xfrm>
        </p:grpSpPr>
        <p:grpSp>
          <p:nvGrpSpPr>
            <p:cNvPr id="16" name="Group 30"/>
            <p:cNvGrpSpPr>
              <a:grpSpLocks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3954" y="2476"/>
              <a:ext cx="828" cy="1164"/>
              <a:chOff x="3917" y="2648"/>
              <a:chExt cx="585" cy="822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35" name="Freeform 28"/>
              <p:cNvSpPr>
                <a:spLocks/>
              </p:cNvSpPr>
              <p:nvPr/>
            </p:nvSpPr>
            <p:spPr bwMode="auto">
              <a:xfrm>
                <a:off x="3917" y="2648"/>
                <a:ext cx="585" cy="822"/>
              </a:xfrm>
              <a:custGeom>
                <a:avLst/>
                <a:gdLst/>
                <a:ahLst/>
                <a:cxnLst>
                  <a:cxn ang="0">
                    <a:pos x="0" y="223"/>
                  </a:cxn>
                  <a:cxn ang="0">
                    <a:pos x="346" y="822"/>
                  </a:cxn>
                  <a:cxn ang="0">
                    <a:pos x="585" y="515"/>
                  </a:cxn>
                  <a:cxn ang="0">
                    <a:pos x="168" y="0"/>
                  </a:cxn>
                  <a:cxn ang="0">
                    <a:pos x="0" y="223"/>
                  </a:cxn>
                </a:cxnLst>
                <a:rect l="0" t="0" r="r" b="b"/>
                <a:pathLst>
                  <a:path w="585" h="822">
                    <a:moveTo>
                      <a:pt x="0" y="223"/>
                    </a:moveTo>
                    <a:lnTo>
                      <a:pt x="346" y="822"/>
                    </a:lnTo>
                    <a:lnTo>
                      <a:pt x="585" y="515"/>
                    </a:lnTo>
                    <a:lnTo>
                      <a:pt x="168" y="0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6" name="Freeform 29"/>
              <p:cNvSpPr>
                <a:spLocks/>
              </p:cNvSpPr>
              <p:nvPr/>
            </p:nvSpPr>
            <p:spPr bwMode="auto">
              <a:xfrm>
                <a:off x="3917" y="2648"/>
                <a:ext cx="585" cy="822"/>
              </a:xfrm>
              <a:custGeom>
                <a:avLst/>
                <a:gdLst/>
                <a:ahLst/>
                <a:cxnLst>
                  <a:cxn ang="0">
                    <a:pos x="0" y="223"/>
                  </a:cxn>
                  <a:cxn ang="0">
                    <a:pos x="346" y="822"/>
                  </a:cxn>
                  <a:cxn ang="0">
                    <a:pos x="585" y="515"/>
                  </a:cxn>
                  <a:cxn ang="0">
                    <a:pos x="168" y="0"/>
                  </a:cxn>
                  <a:cxn ang="0">
                    <a:pos x="0" y="223"/>
                  </a:cxn>
                </a:cxnLst>
                <a:rect l="0" t="0" r="r" b="b"/>
                <a:pathLst>
                  <a:path w="585" h="822">
                    <a:moveTo>
                      <a:pt x="0" y="223"/>
                    </a:moveTo>
                    <a:lnTo>
                      <a:pt x="346" y="822"/>
                    </a:lnTo>
                    <a:lnTo>
                      <a:pt x="585" y="515"/>
                    </a:lnTo>
                    <a:lnTo>
                      <a:pt x="168" y="0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17" name="Group 33"/>
            <p:cNvGrpSpPr>
              <a:grpSpLocks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1683" y="2476"/>
              <a:ext cx="2510" cy="316"/>
              <a:chOff x="2310" y="2648"/>
              <a:chExt cx="1774" cy="223"/>
            </a:xfrm>
            <a:solidFill>
              <a:schemeClr val="tx2"/>
            </a:solidFill>
          </p:grpSpPr>
          <p:sp>
            <p:nvSpPr>
              <p:cNvPr id="33" name="Freeform 31"/>
              <p:cNvSpPr>
                <a:spLocks/>
              </p:cNvSpPr>
              <p:nvPr/>
            </p:nvSpPr>
            <p:spPr bwMode="auto">
              <a:xfrm>
                <a:off x="2310" y="2648"/>
                <a:ext cx="1774" cy="223"/>
              </a:xfrm>
              <a:custGeom>
                <a:avLst/>
                <a:gdLst/>
                <a:ahLst/>
                <a:cxnLst>
                  <a:cxn ang="0">
                    <a:pos x="0" y="223"/>
                  </a:cxn>
                  <a:cxn ang="0">
                    <a:pos x="1606" y="223"/>
                  </a:cxn>
                  <a:cxn ang="0">
                    <a:pos x="1774" y="0"/>
                  </a:cxn>
                  <a:cxn ang="0">
                    <a:pos x="448" y="0"/>
                  </a:cxn>
                  <a:cxn ang="0">
                    <a:pos x="0" y="223"/>
                  </a:cxn>
                </a:cxnLst>
                <a:rect l="0" t="0" r="r" b="b"/>
                <a:pathLst>
                  <a:path w="1774" h="223">
                    <a:moveTo>
                      <a:pt x="0" y="223"/>
                    </a:moveTo>
                    <a:lnTo>
                      <a:pt x="1606" y="223"/>
                    </a:lnTo>
                    <a:lnTo>
                      <a:pt x="1774" y="0"/>
                    </a:lnTo>
                    <a:lnTo>
                      <a:pt x="448" y="0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4" name="Freeform 32"/>
              <p:cNvSpPr>
                <a:spLocks/>
              </p:cNvSpPr>
              <p:nvPr/>
            </p:nvSpPr>
            <p:spPr bwMode="auto">
              <a:xfrm>
                <a:off x="2310" y="2648"/>
                <a:ext cx="1774" cy="223"/>
              </a:xfrm>
              <a:custGeom>
                <a:avLst/>
                <a:gdLst/>
                <a:ahLst/>
                <a:cxnLst>
                  <a:cxn ang="0">
                    <a:pos x="0" y="223"/>
                  </a:cxn>
                  <a:cxn ang="0">
                    <a:pos x="1606" y="223"/>
                  </a:cxn>
                  <a:cxn ang="0">
                    <a:pos x="1774" y="0"/>
                  </a:cxn>
                  <a:cxn ang="0">
                    <a:pos x="448" y="0"/>
                  </a:cxn>
                  <a:cxn ang="0">
                    <a:pos x="0" y="223"/>
                  </a:cxn>
                </a:cxnLst>
                <a:rect l="0" t="0" r="r" b="b"/>
                <a:pathLst>
                  <a:path w="1774" h="223">
                    <a:moveTo>
                      <a:pt x="0" y="223"/>
                    </a:moveTo>
                    <a:lnTo>
                      <a:pt x="1606" y="223"/>
                    </a:lnTo>
                    <a:lnTo>
                      <a:pt x="1774" y="0"/>
                    </a:lnTo>
                    <a:lnTo>
                      <a:pt x="448" y="0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18" name="Group 36"/>
            <p:cNvGrpSpPr>
              <a:grpSpLocks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1201" y="2791"/>
              <a:ext cx="3244" cy="851"/>
              <a:chOff x="1969" y="2871"/>
              <a:chExt cx="2293" cy="601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31" name="Freeform 34"/>
              <p:cNvSpPr>
                <a:spLocks/>
              </p:cNvSpPr>
              <p:nvPr/>
            </p:nvSpPr>
            <p:spPr bwMode="auto">
              <a:xfrm>
                <a:off x="1969" y="2871"/>
                <a:ext cx="2293" cy="601"/>
              </a:xfrm>
              <a:custGeom>
                <a:avLst/>
                <a:gdLst/>
                <a:ahLst/>
                <a:cxnLst>
                  <a:cxn ang="0">
                    <a:pos x="0" y="601"/>
                  </a:cxn>
                  <a:cxn ang="0">
                    <a:pos x="2293" y="601"/>
                  </a:cxn>
                  <a:cxn ang="0">
                    <a:pos x="1947" y="0"/>
                  </a:cxn>
                  <a:cxn ang="0">
                    <a:pos x="342" y="0"/>
                  </a:cxn>
                  <a:cxn ang="0">
                    <a:pos x="0" y="601"/>
                  </a:cxn>
                </a:cxnLst>
                <a:rect l="0" t="0" r="r" b="b"/>
                <a:pathLst>
                  <a:path w="2293" h="601">
                    <a:moveTo>
                      <a:pt x="0" y="601"/>
                    </a:moveTo>
                    <a:lnTo>
                      <a:pt x="2293" y="601"/>
                    </a:lnTo>
                    <a:lnTo>
                      <a:pt x="1947" y="0"/>
                    </a:lnTo>
                    <a:lnTo>
                      <a:pt x="342" y="0"/>
                    </a:lnTo>
                    <a:lnTo>
                      <a:pt x="0" y="60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2" name="Freeform 35"/>
              <p:cNvSpPr>
                <a:spLocks/>
              </p:cNvSpPr>
              <p:nvPr/>
            </p:nvSpPr>
            <p:spPr bwMode="auto">
              <a:xfrm>
                <a:off x="1969" y="2871"/>
                <a:ext cx="2293" cy="601"/>
              </a:xfrm>
              <a:custGeom>
                <a:avLst/>
                <a:gdLst/>
                <a:ahLst/>
                <a:cxnLst>
                  <a:cxn ang="0">
                    <a:pos x="0" y="601"/>
                  </a:cxn>
                  <a:cxn ang="0">
                    <a:pos x="2293" y="601"/>
                  </a:cxn>
                  <a:cxn ang="0">
                    <a:pos x="1947" y="0"/>
                  </a:cxn>
                  <a:cxn ang="0">
                    <a:pos x="342" y="0"/>
                  </a:cxn>
                  <a:cxn ang="0">
                    <a:pos x="0" y="601"/>
                  </a:cxn>
                </a:cxnLst>
                <a:rect l="0" t="0" r="r" b="b"/>
                <a:pathLst>
                  <a:path w="2293" h="601">
                    <a:moveTo>
                      <a:pt x="0" y="601"/>
                    </a:moveTo>
                    <a:lnTo>
                      <a:pt x="2293" y="601"/>
                    </a:lnTo>
                    <a:lnTo>
                      <a:pt x="1947" y="0"/>
                    </a:lnTo>
                    <a:lnTo>
                      <a:pt x="342" y="0"/>
                    </a:lnTo>
                    <a:lnTo>
                      <a:pt x="0" y="601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pic>
          <p:nvPicPr>
            <p:cNvPr id="19" name="Picture 25" descr="entrepot 1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6" y="3070"/>
              <a:ext cx="547" cy="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6" descr="entrepot 2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2" y="3068"/>
              <a:ext cx="561" cy="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7" descr="entrepot 3"/>
            <p:cNvPicPr>
              <a:picLocks noChangeAspect="1" noChangeArrowheads="1"/>
            </p:cNvPicPr>
            <p:nvPr>
              <p:custDataLst>
                <p:tags r:id="rId29"/>
              </p:custDataLst>
            </p:nvPr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8" y="3040"/>
              <a:ext cx="607" cy="3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Rectangle 26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2493" y="2818"/>
              <a:ext cx="616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448" tIns="33723" rIns="67448" bIns="33723" anchor="ctr"/>
            <a:lstStyle/>
            <a:p>
              <a:pPr defTabSz="914400">
                <a:buClr>
                  <a:srgbClr val="006AB3"/>
                </a:buClr>
              </a:pPr>
              <a:r>
                <a:rPr lang="en-US" sz="1200" b="1" dirty="0" err="1"/>
                <a:t>Logistique</a:t>
              </a:r>
              <a:r>
                <a:rPr lang="en-US" sz="1200" b="1" dirty="0"/>
                <a:t> </a:t>
              </a:r>
              <a:r>
                <a:rPr lang="en-US" sz="1200" b="1" dirty="0" err="1"/>
                <a:t>mutualisée</a:t>
              </a:r>
              <a:endParaRPr lang="en-US" sz="1200" b="1" dirty="0"/>
            </a:p>
          </p:txBody>
        </p:sp>
        <p:sp>
          <p:nvSpPr>
            <p:cNvPr id="23" name="Rectangle 26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183" y="2822"/>
              <a:ext cx="768" cy="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448" tIns="33723" rIns="67448" bIns="33723" anchor="ctr"/>
            <a:lstStyle/>
            <a:p>
              <a:pPr defTabSz="914400">
                <a:buClr>
                  <a:srgbClr val="006AB3"/>
                </a:buClr>
              </a:pPr>
              <a:r>
                <a:rPr lang="en-US" sz="1200" b="1" dirty="0"/>
                <a:t>Cross docking</a:t>
              </a:r>
            </a:p>
          </p:txBody>
        </p:sp>
        <p:sp>
          <p:nvSpPr>
            <p:cNvPr id="24" name="Rectangle 26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1745" y="2811"/>
              <a:ext cx="81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448" tIns="33723" rIns="67448" bIns="33723" anchor="ctr"/>
            <a:lstStyle/>
            <a:p>
              <a:pPr defTabSz="914400">
                <a:buClr>
                  <a:srgbClr val="006AB3"/>
                </a:buClr>
              </a:pPr>
              <a:r>
                <a:rPr lang="en-US" sz="1200" b="1" dirty="0" err="1"/>
                <a:t>Logistique</a:t>
              </a:r>
              <a:r>
                <a:rPr lang="en-US" sz="1200" b="1" dirty="0"/>
                <a:t> </a:t>
              </a:r>
              <a:r>
                <a:rPr lang="en-US" sz="1200" b="1" dirty="0" err="1"/>
                <a:t>dédiée</a:t>
              </a:r>
              <a:endParaRPr lang="en-US" sz="1200" b="1" dirty="0"/>
            </a:p>
          </p:txBody>
        </p:sp>
        <p:sp>
          <p:nvSpPr>
            <p:cNvPr id="25" name="Rektangel 163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277" y="3414"/>
              <a:ext cx="1016" cy="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3230" tIns="31617" rIns="63230" bIns="31617"/>
            <a:lstStyle/>
            <a:p>
              <a:pPr algn="ctr" defTabSz="803275"/>
              <a:r>
                <a:rPr lang="en-US" sz="900" dirty="0" err="1"/>
                <a:t>Plateformes</a:t>
              </a:r>
              <a:r>
                <a:rPr lang="en-US" sz="900" dirty="0"/>
                <a:t> </a:t>
              </a:r>
              <a:r>
                <a:rPr lang="en-US" sz="900" dirty="0" err="1"/>
                <a:t>dédiées</a:t>
              </a:r>
              <a:r>
                <a:rPr lang="en-US" sz="900" dirty="0"/>
                <a:t> avec </a:t>
              </a:r>
              <a:r>
                <a:rPr lang="en-US" sz="900" dirty="0" err="1"/>
                <a:t>ou</a:t>
              </a:r>
              <a:r>
                <a:rPr lang="en-US" sz="900" dirty="0"/>
                <a:t> sans transport </a:t>
              </a:r>
              <a:r>
                <a:rPr lang="en-US" sz="900" dirty="0" err="1"/>
                <a:t>associé</a:t>
              </a:r>
              <a:endParaRPr lang="en-US" sz="1000" dirty="0"/>
            </a:p>
          </p:txBody>
        </p:sp>
        <p:sp>
          <p:nvSpPr>
            <p:cNvPr id="26" name="Rektangel 163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14" y="3414"/>
              <a:ext cx="997" cy="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3230" tIns="31617" rIns="63230" bIns="31617"/>
            <a:lstStyle/>
            <a:p>
              <a:pPr algn="ctr" defTabSz="803275"/>
              <a:r>
                <a:rPr lang="en-US" sz="900" dirty="0" err="1"/>
                <a:t>Entreposage</a:t>
              </a:r>
              <a:r>
                <a:rPr lang="en-US" sz="900" dirty="0"/>
                <a:t> + </a:t>
              </a:r>
              <a:r>
                <a:rPr lang="en-US" sz="900" dirty="0" err="1"/>
                <a:t>préparation</a:t>
              </a:r>
              <a:r>
                <a:rPr lang="en-US" sz="900" dirty="0"/>
                <a:t> + distribution</a:t>
              </a:r>
            </a:p>
          </p:txBody>
        </p:sp>
        <p:sp>
          <p:nvSpPr>
            <p:cNvPr id="27" name="Rektangel 163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334" y="3414"/>
              <a:ext cx="987" cy="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3230" tIns="31617" rIns="63230" bIns="31617"/>
            <a:lstStyle/>
            <a:p>
              <a:pPr algn="ctr" defTabSz="803275"/>
              <a:r>
                <a:rPr lang="en-US" sz="900" dirty="0" err="1"/>
                <a:t>Groupage</a:t>
              </a:r>
              <a:r>
                <a:rPr lang="en-US" sz="900" dirty="0"/>
                <a:t> et </a:t>
              </a:r>
              <a:r>
                <a:rPr lang="en-US" sz="900" dirty="0" err="1"/>
                <a:t>chargements</a:t>
              </a:r>
              <a:r>
                <a:rPr lang="en-US" sz="900" dirty="0"/>
                <a:t> </a:t>
              </a:r>
              <a:r>
                <a:rPr lang="en-US" sz="900" dirty="0" err="1"/>
                <a:t>complets</a:t>
              </a:r>
              <a:endParaRPr lang="en-US" sz="900" dirty="0"/>
            </a:p>
          </p:txBody>
        </p:sp>
        <p:cxnSp>
          <p:nvCxnSpPr>
            <p:cNvPr id="28" name="Straight Connector 92"/>
            <p:cNvCxnSpPr/>
            <p:nvPr>
              <p:custDataLst>
                <p:tags r:id="rId36"/>
              </p:custDataLst>
            </p:nvPr>
          </p:nvCxnSpPr>
          <p:spPr>
            <a:xfrm flipV="1">
              <a:off x="1163" y="2779"/>
              <a:ext cx="472" cy="836"/>
            </a:xfrm>
            <a:prstGeom prst="line">
              <a:avLst/>
            </a:prstGeom>
            <a:ln>
              <a:solidFill>
                <a:schemeClr val="tx2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72"/>
            <p:cNvCxnSpPr/>
            <p:nvPr/>
          </p:nvCxnSpPr>
          <p:spPr>
            <a:xfrm flipH="1">
              <a:off x="2296" y="2808"/>
              <a:ext cx="152" cy="836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70"/>
            <p:cNvCxnSpPr/>
            <p:nvPr>
              <p:custDataLst>
                <p:tags r:id="rId37"/>
              </p:custDataLst>
            </p:nvPr>
          </p:nvCxnSpPr>
          <p:spPr>
            <a:xfrm>
              <a:off x="3176" y="2808"/>
              <a:ext cx="152" cy="836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63"/>
          <p:cNvGrpSpPr>
            <a:grpSpLocks/>
          </p:cNvGrpSpPr>
          <p:nvPr/>
        </p:nvGrpSpPr>
        <p:grpSpPr bwMode="auto">
          <a:xfrm>
            <a:off x="2684913" y="6001638"/>
            <a:ext cx="3897312" cy="787400"/>
            <a:chOff x="2554288" y="6037263"/>
            <a:chExt cx="3897312" cy="787400"/>
          </a:xfrm>
        </p:grpSpPr>
        <p:sp>
          <p:nvSpPr>
            <p:cNvPr id="38" name="Rectangle 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554288" y="6037263"/>
              <a:ext cx="3897312" cy="787400"/>
            </a:xfrm>
            <a:prstGeom prst="rect">
              <a:avLst/>
            </a:prstGeom>
            <a:solidFill>
              <a:schemeClr val="bg1">
                <a:lumMod val="85000"/>
                <a:alpha val="59999"/>
              </a:schemeClr>
            </a:solidFill>
            <a:ln w="25400">
              <a:solidFill>
                <a:schemeClr val="bg1">
                  <a:lumMod val="85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none" lIns="97500" tIns="48750" rIns="97500" bIns="48750" anchor="ctr"/>
            <a:lstStyle/>
            <a:p>
              <a:pPr algn="l">
                <a:defRPr/>
              </a:pPr>
              <a:endParaRPr lang="fr-FR">
                <a:ea typeface="ＭＳ Ｐゴシック" pitchFamily="34" charset="-128"/>
              </a:endParaRPr>
            </a:p>
          </p:txBody>
        </p:sp>
        <p:grpSp>
          <p:nvGrpSpPr>
            <p:cNvPr id="39" name="Group 88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2889250" y="6072188"/>
              <a:ext cx="1106488" cy="712787"/>
              <a:chOff x="3619508" y="6181251"/>
              <a:chExt cx="1108075" cy="712788"/>
            </a:xfrm>
          </p:grpSpPr>
          <p:sp>
            <p:nvSpPr>
              <p:cNvPr id="46" name="Text Box 1066"/>
              <p:cNvSpPr txBox="1"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708444" y="6678139"/>
                <a:ext cx="979488" cy="2159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456" tIns="31617" rIns="12456" bIns="31617">
                <a:spAutoFit/>
              </a:bodyPr>
              <a:lstStyle>
                <a:lvl1pPr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1pPr>
                <a:lvl2pPr marL="742950" indent="-28575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2pPr>
                <a:lvl3pPr marL="11430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3pPr>
                <a:lvl4pPr marL="16002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4pPr>
                <a:lvl5pPr marL="20574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5pPr>
                <a:lvl6pPr marL="25146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6pPr>
                <a:lvl7pPr marL="29718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7pPr>
                <a:lvl8pPr marL="34290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8pPr>
                <a:lvl9pPr marL="38862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9pPr>
              </a:lstStyle>
              <a:p>
                <a:pPr algn="ctr" eaLnBrk="1" hangingPunct="1"/>
                <a:r>
                  <a:rPr lang="en-US" sz="1000" dirty="0" err="1">
                    <a:solidFill>
                      <a:srgbClr val="00529E"/>
                    </a:solidFill>
                  </a:rPr>
                  <a:t>Surgelé</a:t>
                </a:r>
                <a:endParaRPr lang="en-US" sz="3800" dirty="0">
                  <a:solidFill>
                    <a:srgbClr val="00529E"/>
                  </a:solidFill>
                </a:endParaRPr>
              </a:p>
            </p:txBody>
          </p:sp>
          <p:pic>
            <p:nvPicPr>
              <p:cNvPr id="47" name="Picture 36" descr="surgele"/>
              <p:cNvPicPr>
                <a:picLocks noChangeAspect="1" noChangeArrowheads="1"/>
              </p:cNvPicPr>
              <p:nvPr/>
            </p:nvPicPr>
            <p:blipFill>
              <a:blip r:embed="rId4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19508" y="6181251"/>
                <a:ext cx="1108075" cy="549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0" name="Group 87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5014913" y="6094413"/>
              <a:ext cx="1112837" cy="669925"/>
              <a:chOff x="7149507" y="6048148"/>
              <a:chExt cx="1112837" cy="669925"/>
            </a:xfrm>
          </p:grpSpPr>
          <p:pic>
            <p:nvPicPr>
              <p:cNvPr id="44" name="Picture 35" descr="sucre et autre-2"/>
              <p:cNvPicPr>
                <a:picLocks noChangeAspect="1" noChangeArrowheads="1"/>
              </p:cNvPicPr>
              <p:nvPr/>
            </p:nvPicPr>
            <p:blipFill>
              <a:blip r:embed="rId4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49507" y="6048148"/>
                <a:ext cx="1112837" cy="474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5" name="Text Box 1066"/>
              <p:cNvSpPr txBox="1"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7216182" y="6502173"/>
                <a:ext cx="979487" cy="2159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456" tIns="31617" rIns="12456" bIns="31617">
                <a:spAutoFit/>
              </a:bodyPr>
              <a:lstStyle>
                <a:lvl1pPr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1pPr>
                <a:lvl2pPr marL="742950" indent="-28575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2pPr>
                <a:lvl3pPr marL="11430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3pPr>
                <a:lvl4pPr marL="16002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4pPr>
                <a:lvl5pPr marL="20574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5pPr>
                <a:lvl6pPr marL="25146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6pPr>
                <a:lvl7pPr marL="29718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7pPr>
                <a:lvl8pPr marL="34290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8pPr>
                <a:lvl9pPr marL="38862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9pPr>
              </a:lstStyle>
              <a:p>
                <a:pPr algn="ctr" eaLnBrk="1" hangingPunct="1"/>
                <a:r>
                  <a:rPr lang="en-US" sz="1000" dirty="0">
                    <a:solidFill>
                      <a:srgbClr val="00529E"/>
                    </a:solidFill>
                  </a:rPr>
                  <a:t>8°C-15°C</a:t>
                </a:r>
                <a:endParaRPr lang="en-US" sz="3800" dirty="0">
                  <a:solidFill>
                    <a:srgbClr val="00529E"/>
                  </a:solidFill>
                </a:endParaRPr>
              </a:p>
            </p:txBody>
          </p:sp>
        </p:grpSp>
        <p:grpSp>
          <p:nvGrpSpPr>
            <p:cNvPr id="41" name="Group 86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3951288" y="6075363"/>
              <a:ext cx="1108075" cy="706437"/>
              <a:chOff x="5944594" y="6011636"/>
              <a:chExt cx="1108075" cy="706437"/>
            </a:xfrm>
          </p:grpSpPr>
          <p:pic>
            <p:nvPicPr>
              <p:cNvPr id="42" name="Picture 33" descr="boeuf oeuf fromage 2"/>
              <p:cNvPicPr>
                <a:picLocks noChangeAspect="1" noChangeArrowheads="1"/>
              </p:cNvPicPr>
              <p:nvPr/>
            </p:nvPicPr>
            <p:blipFill>
              <a:blip r:embed="rId4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4594" y="6011636"/>
                <a:ext cx="1108075" cy="533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3" name="Text Box 1066"/>
              <p:cNvSpPr txBox="1"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6008094" y="6502173"/>
                <a:ext cx="979488" cy="2159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456" tIns="31617" rIns="12456" bIns="31617">
                <a:spAutoFit/>
              </a:bodyPr>
              <a:lstStyle>
                <a:lvl1pPr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1pPr>
                <a:lvl2pPr marL="742950" indent="-28575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2pPr>
                <a:lvl3pPr marL="11430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3pPr>
                <a:lvl4pPr marL="16002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4pPr>
                <a:lvl5pPr marL="2057400" indent="-228600" defTabSz="803275" eaLnBrk="0" hangingPunct="0"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5pPr>
                <a:lvl6pPr marL="25146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6pPr>
                <a:lvl7pPr marL="29718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7pPr>
                <a:lvl8pPr marL="34290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8pPr>
                <a:lvl9pPr marL="3886200" indent="-228600" algn="ctr" defTabSz="8032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itchFamily="34" charset="0"/>
                    <a:ea typeface="ＭＳ Ｐゴシック" pitchFamily="-84" charset="-128"/>
                  </a:defRPr>
                </a:lvl9pPr>
              </a:lstStyle>
              <a:p>
                <a:pPr algn="ctr" eaLnBrk="1" hangingPunct="1"/>
                <a:r>
                  <a:rPr lang="en-US" sz="1000" dirty="0">
                    <a:solidFill>
                      <a:srgbClr val="00529E"/>
                    </a:solidFill>
                  </a:rPr>
                  <a:t>2°C-4°C</a:t>
                </a:r>
                <a:endParaRPr lang="en-US" sz="3800" dirty="0">
                  <a:solidFill>
                    <a:srgbClr val="00529E"/>
                  </a:solidFill>
                </a:endParaRPr>
              </a:p>
            </p:txBody>
          </p:sp>
        </p:grpSp>
      </p:grpSp>
      <p:sp>
        <p:nvSpPr>
          <p:cNvPr id="48" name="Text 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39913" y="3128963"/>
            <a:ext cx="1385887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58" tIns="48729" rIns="97458" bIns="48729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b="1">
                <a:solidFill>
                  <a:schemeClr val="bg2"/>
                </a:solidFill>
              </a:rPr>
              <a:t>Tactique</a:t>
            </a:r>
          </a:p>
        </p:txBody>
      </p:sp>
      <p:sp>
        <p:nvSpPr>
          <p:cNvPr id="49" name="Text Box 1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08225" y="1655763"/>
            <a:ext cx="17081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458" tIns="48729" rIns="97458" bIns="48729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b="1">
                <a:solidFill>
                  <a:schemeClr val="accent1"/>
                </a:solidFill>
              </a:rPr>
              <a:t>Stratégique</a:t>
            </a:r>
          </a:p>
        </p:txBody>
      </p:sp>
      <p:sp>
        <p:nvSpPr>
          <p:cNvPr id="50" name="Line 86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H="1">
            <a:off x="1422400" y="2616200"/>
            <a:ext cx="293688" cy="19558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1" name="AutoShape 9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78738" y="4014788"/>
            <a:ext cx="1690687" cy="815975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  <a:effectLst>
            <a:outerShdw blurRad="63500" dist="38099" dir="2700000" algn="ctr" rotWithShape="0">
              <a:srgbClr val="00000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5707" rIns="0" bIns="45707" anchor="ctr"/>
          <a:lstStyle/>
          <a:p>
            <a:pPr defTabSz="914400">
              <a:defRPr/>
            </a:pPr>
            <a:r>
              <a:rPr lang="en-US" altLang="fr-FR" b="1" dirty="0">
                <a:solidFill>
                  <a:schemeClr val="bg1"/>
                </a:solidFill>
              </a:rPr>
              <a:t>“</a:t>
            </a:r>
            <a:r>
              <a:rPr lang="en-US" altLang="ja-JP" b="1" dirty="0" err="1">
                <a:solidFill>
                  <a:schemeClr val="bg1"/>
                </a:solidFill>
              </a:rPr>
              <a:t>Concevoir</a:t>
            </a:r>
            <a:r>
              <a:rPr lang="en-US" altLang="ja-JP" b="1" dirty="0">
                <a:solidFill>
                  <a:schemeClr val="bg1"/>
                </a:solidFill>
              </a:rPr>
              <a:t> et </a:t>
            </a:r>
            <a:r>
              <a:rPr lang="en-US" altLang="ja-JP" b="1" dirty="0" smtClean="0">
                <a:solidFill>
                  <a:schemeClr val="bg1"/>
                </a:solidFill>
              </a:rPr>
              <a:t> exploiter</a:t>
            </a:r>
            <a:r>
              <a:rPr lang="en-US" altLang="fr-FR" b="1" dirty="0">
                <a:solidFill>
                  <a:schemeClr val="bg1"/>
                </a:solidFill>
              </a:rPr>
              <a:t>”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2" name="AutoShape 9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83375" y="2687638"/>
            <a:ext cx="1690688" cy="81597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>
            <a:noFill/>
          </a:ln>
          <a:effectLst>
            <a:outerShdw blurRad="63500" dist="38099" dir="2700000" algn="ctr" rotWithShape="0">
              <a:srgbClr val="00000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5707" rIns="0" bIns="45707" anchor="ctr"/>
          <a:lstStyle/>
          <a:p>
            <a:pPr defTabSz="914400">
              <a:defRPr/>
            </a:pPr>
            <a:r>
              <a:rPr lang="en-US" altLang="fr-FR" b="1" dirty="0" smtClean="0">
                <a:solidFill>
                  <a:schemeClr val="bg1"/>
                </a:solidFill>
              </a:rPr>
              <a:t>  “</a:t>
            </a:r>
            <a:r>
              <a:rPr lang="en-US" altLang="ja-JP" b="1" dirty="0" err="1">
                <a:solidFill>
                  <a:schemeClr val="bg1"/>
                </a:solidFill>
              </a:rPr>
              <a:t>Garantir</a:t>
            </a:r>
            <a:r>
              <a:rPr lang="en-US" altLang="fr-FR" b="1" dirty="0">
                <a:solidFill>
                  <a:schemeClr val="bg1"/>
                </a:solidFill>
              </a:rPr>
              <a:t>”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3" name="AutoShape 9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34013" y="1314450"/>
            <a:ext cx="1690687" cy="815975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  <a:effectLst>
            <a:outerShdw blurRad="63500" dist="38099" dir="2700000" algn="ctr" rotWithShape="0">
              <a:srgbClr val="00000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5707" rIns="0" bIns="45707" anchor="ctr"/>
          <a:lstStyle/>
          <a:p>
            <a:pPr defTabSz="914400">
              <a:defRPr/>
            </a:pPr>
            <a:r>
              <a:rPr lang="en-US" altLang="fr-FR" b="1" dirty="0" smtClean="0">
                <a:solidFill>
                  <a:schemeClr val="bg1"/>
                </a:solidFill>
              </a:rPr>
              <a:t> “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Satisfaire</a:t>
            </a:r>
            <a:r>
              <a:rPr lang="en-US" altLang="fr-FR" b="1" dirty="0">
                <a:solidFill>
                  <a:schemeClr val="bg1"/>
                </a:solidFill>
              </a:rPr>
              <a:t>”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54" name="Group 51"/>
          <p:cNvGrpSpPr>
            <a:grpSpLocks/>
          </p:cNvGrpSpPr>
          <p:nvPr/>
        </p:nvGrpSpPr>
        <p:grpSpPr bwMode="auto">
          <a:xfrm>
            <a:off x="2744788" y="2579688"/>
            <a:ext cx="3762375" cy="1617662"/>
            <a:chOff x="1729" y="1630"/>
            <a:chExt cx="2370" cy="1019"/>
          </a:xfrm>
        </p:grpSpPr>
        <p:grpSp>
          <p:nvGrpSpPr>
            <p:cNvPr id="55" name="Group 42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2260" y="1630"/>
              <a:ext cx="1252" cy="153"/>
              <a:chOff x="2718" y="2050"/>
              <a:chExt cx="884" cy="108"/>
            </a:xfrm>
            <a:solidFill>
              <a:schemeClr val="bg2"/>
            </a:solidFill>
          </p:grpSpPr>
          <p:sp>
            <p:nvSpPr>
              <p:cNvPr id="64" name="Freeform 40"/>
              <p:cNvSpPr>
                <a:spLocks/>
              </p:cNvSpPr>
              <p:nvPr/>
            </p:nvSpPr>
            <p:spPr bwMode="auto">
              <a:xfrm>
                <a:off x="2718" y="2050"/>
                <a:ext cx="884" cy="108"/>
              </a:xfrm>
              <a:custGeom>
                <a:avLst/>
                <a:gdLst/>
                <a:ahLst/>
                <a:cxnLst>
                  <a:cxn ang="0">
                    <a:pos x="0" y="108"/>
                  </a:cxn>
                  <a:cxn ang="0">
                    <a:pos x="797" y="108"/>
                  </a:cxn>
                  <a:cxn ang="0">
                    <a:pos x="884" y="0"/>
                  </a:cxn>
                  <a:cxn ang="0">
                    <a:pos x="276" y="0"/>
                  </a:cxn>
                  <a:cxn ang="0">
                    <a:pos x="0" y="108"/>
                  </a:cxn>
                </a:cxnLst>
                <a:rect l="0" t="0" r="r" b="b"/>
                <a:pathLst>
                  <a:path w="884" h="108">
                    <a:moveTo>
                      <a:pt x="0" y="108"/>
                    </a:moveTo>
                    <a:lnTo>
                      <a:pt x="797" y="108"/>
                    </a:lnTo>
                    <a:lnTo>
                      <a:pt x="884" y="0"/>
                    </a:lnTo>
                    <a:lnTo>
                      <a:pt x="276" y="0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5" name="Freeform 41"/>
              <p:cNvSpPr>
                <a:spLocks/>
              </p:cNvSpPr>
              <p:nvPr/>
            </p:nvSpPr>
            <p:spPr bwMode="auto">
              <a:xfrm>
                <a:off x="2718" y="2050"/>
                <a:ext cx="884" cy="108"/>
              </a:xfrm>
              <a:custGeom>
                <a:avLst/>
                <a:gdLst/>
                <a:ahLst/>
                <a:cxnLst>
                  <a:cxn ang="0">
                    <a:pos x="0" y="108"/>
                  </a:cxn>
                  <a:cxn ang="0">
                    <a:pos x="797" y="108"/>
                  </a:cxn>
                  <a:cxn ang="0">
                    <a:pos x="884" y="0"/>
                  </a:cxn>
                  <a:cxn ang="0">
                    <a:pos x="276" y="0"/>
                  </a:cxn>
                  <a:cxn ang="0">
                    <a:pos x="0" y="108"/>
                  </a:cxn>
                </a:cxnLst>
                <a:rect l="0" t="0" r="r" b="b"/>
                <a:pathLst>
                  <a:path w="884" h="108">
                    <a:moveTo>
                      <a:pt x="0" y="108"/>
                    </a:moveTo>
                    <a:lnTo>
                      <a:pt x="797" y="108"/>
                    </a:lnTo>
                    <a:lnTo>
                      <a:pt x="884" y="0"/>
                    </a:lnTo>
                    <a:lnTo>
                      <a:pt x="276" y="0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cxnSp>
          <p:nvCxnSpPr>
            <p:cNvPr id="56" name="Straight Connector 93"/>
            <p:cNvCxnSpPr/>
            <p:nvPr>
              <p:custDataLst>
                <p:tags r:id="rId13"/>
              </p:custDataLst>
            </p:nvPr>
          </p:nvCxnSpPr>
          <p:spPr>
            <a:xfrm flipV="1">
              <a:off x="1729" y="1781"/>
              <a:ext cx="472" cy="836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7" name="Group 39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3388" y="1632"/>
              <a:ext cx="711" cy="1017"/>
              <a:chOff x="3516" y="2051"/>
              <a:chExt cx="505" cy="719"/>
            </a:xfrm>
            <a:solidFill>
              <a:schemeClr val="bg2">
                <a:lumMod val="60000"/>
                <a:lumOff val="40000"/>
              </a:schemeClr>
            </a:solidFill>
          </p:grpSpPr>
          <p:sp>
            <p:nvSpPr>
              <p:cNvPr id="62" name="Freeform 37"/>
              <p:cNvSpPr>
                <a:spLocks/>
              </p:cNvSpPr>
              <p:nvPr/>
            </p:nvSpPr>
            <p:spPr bwMode="auto">
              <a:xfrm>
                <a:off x="3516" y="2051"/>
                <a:ext cx="505" cy="719"/>
              </a:xfrm>
              <a:custGeom>
                <a:avLst/>
                <a:gdLst/>
                <a:ahLst/>
                <a:cxnLst>
                  <a:cxn ang="0">
                    <a:pos x="346" y="719"/>
                  </a:cxn>
                  <a:cxn ang="0">
                    <a:pos x="505" y="513"/>
                  </a:cxn>
                  <a:cxn ang="0">
                    <a:pos x="88" y="0"/>
                  </a:cxn>
                  <a:cxn ang="0">
                    <a:pos x="0" y="108"/>
                  </a:cxn>
                  <a:cxn ang="0">
                    <a:pos x="346" y="719"/>
                  </a:cxn>
                </a:cxnLst>
                <a:rect l="0" t="0" r="r" b="b"/>
                <a:pathLst>
                  <a:path w="505" h="719">
                    <a:moveTo>
                      <a:pt x="346" y="719"/>
                    </a:moveTo>
                    <a:lnTo>
                      <a:pt x="505" y="513"/>
                    </a:lnTo>
                    <a:lnTo>
                      <a:pt x="88" y="0"/>
                    </a:lnTo>
                    <a:lnTo>
                      <a:pt x="0" y="108"/>
                    </a:lnTo>
                    <a:lnTo>
                      <a:pt x="346" y="7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3" name="Freeform 38"/>
              <p:cNvSpPr>
                <a:spLocks/>
              </p:cNvSpPr>
              <p:nvPr/>
            </p:nvSpPr>
            <p:spPr bwMode="auto">
              <a:xfrm>
                <a:off x="3516" y="2051"/>
                <a:ext cx="505" cy="719"/>
              </a:xfrm>
              <a:custGeom>
                <a:avLst/>
                <a:gdLst/>
                <a:ahLst/>
                <a:cxnLst>
                  <a:cxn ang="0">
                    <a:pos x="346" y="719"/>
                  </a:cxn>
                  <a:cxn ang="0">
                    <a:pos x="505" y="513"/>
                  </a:cxn>
                  <a:cxn ang="0">
                    <a:pos x="88" y="0"/>
                  </a:cxn>
                  <a:cxn ang="0">
                    <a:pos x="0" y="108"/>
                  </a:cxn>
                  <a:cxn ang="0">
                    <a:pos x="346" y="719"/>
                  </a:cxn>
                </a:cxnLst>
                <a:rect l="0" t="0" r="r" b="b"/>
                <a:pathLst>
                  <a:path w="505" h="719">
                    <a:moveTo>
                      <a:pt x="346" y="719"/>
                    </a:moveTo>
                    <a:lnTo>
                      <a:pt x="505" y="513"/>
                    </a:lnTo>
                    <a:lnTo>
                      <a:pt x="88" y="0"/>
                    </a:lnTo>
                    <a:lnTo>
                      <a:pt x="0" y="108"/>
                    </a:lnTo>
                    <a:lnTo>
                      <a:pt x="346" y="719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58" name="Group 45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1767" y="1783"/>
              <a:ext cx="2109" cy="866"/>
              <a:chOff x="2369" y="2158"/>
              <a:chExt cx="1491" cy="612"/>
            </a:xfrm>
            <a:solidFill>
              <a:schemeClr val="bg2">
                <a:lumMod val="40000"/>
                <a:lumOff val="60000"/>
              </a:schemeClr>
            </a:solidFill>
          </p:grpSpPr>
          <p:sp>
            <p:nvSpPr>
              <p:cNvPr id="60" name="Freeform 43"/>
              <p:cNvSpPr>
                <a:spLocks/>
              </p:cNvSpPr>
              <p:nvPr/>
            </p:nvSpPr>
            <p:spPr bwMode="auto">
              <a:xfrm>
                <a:off x="2369" y="2158"/>
                <a:ext cx="1491" cy="612"/>
              </a:xfrm>
              <a:custGeom>
                <a:avLst/>
                <a:gdLst/>
                <a:ahLst/>
                <a:cxnLst>
                  <a:cxn ang="0">
                    <a:pos x="0" y="612"/>
                  </a:cxn>
                  <a:cxn ang="0">
                    <a:pos x="1491" y="612"/>
                  </a:cxn>
                  <a:cxn ang="0">
                    <a:pos x="1145" y="0"/>
                  </a:cxn>
                  <a:cxn ang="0">
                    <a:pos x="347" y="0"/>
                  </a:cxn>
                  <a:cxn ang="0">
                    <a:pos x="0" y="612"/>
                  </a:cxn>
                </a:cxnLst>
                <a:rect l="0" t="0" r="r" b="b"/>
                <a:pathLst>
                  <a:path w="1491" h="612">
                    <a:moveTo>
                      <a:pt x="0" y="612"/>
                    </a:moveTo>
                    <a:lnTo>
                      <a:pt x="1491" y="612"/>
                    </a:lnTo>
                    <a:lnTo>
                      <a:pt x="1145" y="0"/>
                    </a:lnTo>
                    <a:lnTo>
                      <a:pt x="347" y="0"/>
                    </a:lnTo>
                    <a:lnTo>
                      <a:pt x="0" y="6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1" name="Freeform 44"/>
              <p:cNvSpPr>
                <a:spLocks/>
              </p:cNvSpPr>
              <p:nvPr/>
            </p:nvSpPr>
            <p:spPr bwMode="auto">
              <a:xfrm>
                <a:off x="2369" y="2158"/>
                <a:ext cx="1491" cy="612"/>
              </a:xfrm>
              <a:custGeom>
                <a:avLst/>
                <a:gdLst/>
                <a:ahLst/>
                <a:cxnLst>
                  <a:cxn ang="0">
                    <a:pos x="0" y="612"/>
                  </a:cxn>
                  <a:cxn ang="0">
                    <a:pos x="1491" y="612"/>
                  </a:cxn>
                  <a:cxn ang="0">
                    <a:pos x="1145" y="0"/>
                  </a:cxn>
                  <a:cxn ang="0">
                    <a:pos x="347" y="0"/>
                  </a:cxn>
                  <a:cxn ang="0">
                    <a:pos x="0" y="612"/>
                  </a:cxn>
                </a:cxnLst>
                <a:rect l="0" t="0" r="r" b="b"/>
                <a:pathLst>
                  <a:path w="1491" h="612">
                    <a:moveTo>
                      <a:pt x="0" y="612"/>
                    </a:moveTo>
                    <a:lnTo>
                      <a:pt x="1491" y="612"/>
                    </a:lnTo>
                    <a:lnTo>
                      <a:pt x="1145" y="0"/>
                    </a:lnTo>
                    <a:lnTo>
                      <a:pt x="347" y="0"/>
                    </a:lnTo>
                    <a:lnTo>
                      <a:pt x="0" y="612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sp>
          <p:nvSpPr>
            <p:cNvPr id="59" name="Rectangle 4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502" y="2058"/>
              <a:ext cx="588" cy="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 type="none" w="lg" len="lg"/>
                  <a:tailEnd type="none" w="lg" len="lg"/>
                </a14:hiddenLine>
              </a:ext>
            </a:extLst>
          </p:spPr>
          <p:txBody>
            <a:bodyPr wrap="none" lIns="91371" tIns="91371" rIns="91371" bIns="91371" anchor="ctr"/>
            <a:lstStyle/>
            <a:p>
              <a:pPr algn="ctr"/>
              <a:r>
                <a:rPr lang="en-US" sz="1300" b="1" dirty="0" err="1"/>
                <a:t>Garantir</a:t>
              </a:r>
              <a:r>
                <a:rPr lang="en-US" sz="1300" b="1" dirty="0"/>
                <a:t> le </a:t>
              </a:r>
              <a:r>
                <a:rPr lang="en-US" sz="1300" b="1" dirty="0" err="1"/>
                <a:t>meilleur</a:t>
              </a:r>
              <a:r>
                <a:rPr lang="en-US" sz="1300" b="1" dirty="0"/>
                <a:t> </a:t>
              </a:r>
            </a:p>
            <a:p>
              <a:pPr algn="ctr"/>
              <a:r>
                <a:rPr lang="en-US" sz="1300" b="1" dirty="0"/>
                <a:t>rapport </a:t>
              </a:r>
              <a:r>
                <a:rPr lang="en-US" sz="1300" b="1" dirty="0" err="1"/>
                <a:t>qualité</a:t>
              </a:r>
              <a:r>
                <a:rPr lang="en-US" sz="1300" b="1" dirty="0"/>
                <a:t> / prix </a:t>
              </a:r>
            </a:p>
            <a:p>
              <a:pPr algn="ctr"/>
              <a:r>
                <a:rPr lang="en-US" sz="1300" b="1" dirty="0"/>
                <a:t>pour </a:t>
              </a:r>
              <a:r>
                <a:rPr lang="en-US" sz="1300" b="1" dirty="0" err="1"/>
                <a:t>être</a:t>
              </a:r>
              <a:r>
                <a:rPr lang="en-US" sz="1300" b="1" dirty="0"/>
                <a:t> le </a:t>
              </a:r>
            </a:p>
            <a:p>
              <a:pPr algn="ctr"/>
              <a:r>
                <a:rPr lang="en-US" altLang="fr-FR" sz="1300" b="1" dirty="0"/>
                <a:t>“</a:t>
              </a:r>
              <a:r>
                <a:rPr lang="en-US" altLang="ja-JP" sz="1300" b="1" dirty="0" err="1"/>
                <a:t>fournisseur</a:t>
              </a:r>
              <a:r>
                <a:rPr lang="en-US" altLang="ja-JP" sz="1300" b="1" dirty="0"/>
                <a:t> de </a:t>
              </a:r>
              <a:r>
                <a:rPr lang="en-US" altLang="ja-JP" sz="1300" b="1" dirty="0" err="1"/>
                <a:t>référence</a:t>
              </a:r>
              <a:r>
                <a:rPr lang="en-US" altLang="fr-FR" sz="1300" b="1" dirty="0">
                  <a:sym typeface="Wingdings" pitchFamily="2" charset="2"/>
                </a:rPr>
                <a:t>”</a:t>
              </a:r>
              <a:endParaRPr lang="en-US" sz="1300" b="1" dirty="0"/>
            </a:p>
          </p:txBody>
        </p:sp>
      </p:grpSp>
      <p:grpSp>
        <p:nvGrpSpPr>
          <p:cNvPr id="66" name="Group 52"/>
          <p:cNvGrpSpPr>
            <a:grpSpLocks/>
          </p:cNvGrpSpPr>
          <p:nvPr/>
        </p:nvGrpSpPr>
        <p:grpSpPr bwMode="auto">
          <a:xfrm>
            <a:off x="3632199" y="1252538"/>
            <a:ext cx="1800225" cy="1370013"/>
            <a:chOff x="2288" y="789"/>
            <a:chExt cx="1134" cy="863"/>
          </a:xfrm>
        </p:grpSpPr>
        <p:grpSp>
          <p:nvGrpSpPr>
            <p:cNvPr id="67" name="Group 48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auto">
            <a:xfrm>
              <a:off x="2819" y="790"/>
              <a:ext cx="603" cy="862"/>
              <a:chOff x="3113" y="1456"/>
              <a:chExt cx="426" cy="60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3" name="Freeform 46"/>
              <p:cNvSpPr>
                <a:spLocks/>
              </p:cNvSpPr>
              <p:nvPr/>
            </p:nvSpPr>
            <p:spPr bwMode="auto">
              <a:xfrm>
                <a:off x="3113" y="1456"/>
                <a:ext cx="426" cy="609"/>
              </a:xfrm>
              <a:custGeom>
                <a:avLst/>
                <a:gdLst/>
                <a:ahLst/>
                <a:cxnLst>
                  <a:cxn ang="0">
                    <a:pos x="347" y="609"/>
                  </a:cxn>
                  <a:cxn ang="0">
                    <a:pos x="426" y="514"/>
                  </a:cxn>
                  <a:cxn ang="0">
                    <a:pos x="0" y="0"/>
                  </a:cxn>
                  <a:cxn ang="0">
                    <a:pos x="347" y="609"/>
                  </a:cxn>
                </a:cxnLst>
                <a:rect l="0" t="0" r="r" b="b"/>
                <a:pathLst>
                  <a:path w="426" h="609">
                    <a:moveTo>
                      <a:pt x="347" y="609"/>
                    </a:moveTo>
                    <a:lnTo>
                      <a:pt x="426" y="514"/>
                    </a:lnTo>
                    <a:lnTo>
                      <a:pt x="0" y="0"/>
                    </a:lnTo>
                    <a:lnTo>
                      <a:pt x="347" y="60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4" name="Freeform 47"/>
              <p:cNvSpPr>
                <a:spLocks/>
              </p:cNvSpPr>
              <p:nvPr/>
            </p:nvSpPr>
            <p:spPr bwMode="auto">
              <a:xfrm>
                <a:off x="3113" y="1456"/>
                <a:ext cx="426" cy="609"/>
              </a:xfrm>
              <a:custGeom>
                <a:avLst/>
                <a:gdLst/>
                <a:ahLst/>
                <a:cxnLst>
                  <a:cxn ang="0">
                    <a:pos x="347" y="609"/>
                  </a:cxn>
                  <a:cxn ang="0">
                    <a:pos x="426" y="514"/>
                  </a:cxn>
                  <a:cxn ang="0">
                    <a:pos x="0" y="0"/>
                  </a:cxn>
                  <a:cxn ang="0">
                    <a:pos x="347" y="609"/>
                  </a:cxn>
                </a:cxnLst>
                <a:rect l="0" t="0" r="r" b="b"/>
                <a:pathLst>
                  <a:path w="426" h="609">
                    <a:moveTo>
                      <a:pt x="347" y="609"/>
                    </a:moveTo>
                    <a:lnTo>
                      <a:pt x="426" y="514"/>
                    </a:lnTo>
                    <a:lnTo>
                      <a:pt x="0" y="0"/>
                    </a:lnTo>
                    <a:lnTo>
                      <a:pt x="347" y="609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68" name="Group 51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2330" y="790"/>
              <a:ext cx="980" cy="862"/>
              <a:chOff x="2767" y="1456"/>
              <a:chExt cx="693" cy="609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71" name="Freeform 49"/>
              <p:cNvSpPr>
                <a:spLocks/>
              </p:cNvSpPr>
              <p:nvPr/>
            </p:nvSpPr>
            <p:spPr bwMode="auto">
              <a:xfrm>
                <a:off x="2767" y="1456"/>
                <a:ext cx="693" cy="609"/>
              </a:xfrm>
              <a:custGeom>
                <a:avLst/>
                <a:gdLst/>
                <a:ahLst/>
                <a:cxnLst>
                  <a:cxn ang="0">
                    <a:pos x="0" y="609"/>
                  </a:cxn>
                  <a:cxn ang="0">
                    <a:pos x="693" y="609"/>
                  </a:cxn>
                  <a:cxn ang="0">
                    <a:pos x="347" y="0"/>
                  </a:cxn>
                  <a:cxn ang="0">
                    <a:pos x="0" y="609"/>
                  </a:cxn>
                </a:cxnLst>
                <a:rect l="0" t="0" r="r" b="b"/>
                <a:pathLst>
                  <a:path w="693" h="609">
                    <a:moveTo>
                      <a:pt x="0" y="609"/>
                    </a:moveTo>
                    <a:lnTo>
                      <a:pt x="693" y="609"/>
                    </a:lnTo>
                    <a:lnTo>
                      <a:pt x="347" y="0"/>
                    </a:lnTo>
                    <a:lnTo>
                      <a:pt x="0" y="60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2" name="Freeform 50"/>
              <p:cNvSpPr>
                <a:spLocks/>
              </p:cNvSpPr>
              <p:nvPr/>
            </p:nvSpPr>
            <p:spPr bwMode="auto">
              <a:xfrm>
                <a:off x="2767" y="1456"/>
                <a:ext cx="693" cy="609"/>
              </a:xfrm>
              <a:custGeom>
                <a:avLst/>
                <a:gdLst/>
                <a:ahLst/>
                <a:cxnLst>
                  <a:cxn ang="0">
                    <a:pos x="0" y="609"/>
                  </a:cxn>
                  <a:cxn ang="0">
                    <a:pos x="693" y="609"/>
                  </a:cxn>
                  <a:cxn ang="0">
                    <a:pos x="347" y="0"/>
                  </a:cxn>
                  <a:cxn ang="0">
                    <a:pos x="0" y="609"/>
                  </a:cxn>
                </a:cxnLst>
                <a:rect l="0" t="0" r="r" b="b"/>
                <a:pathLst>
                  <a:path w="693" h="609">
                    <a:moveTo>
                      <a:pt x="0" y="609"/>
                    </a:moveTo>
                    <a:lnTo>
                      <a:pt x="693" y="609"/>
                    </a:lnTo>
                    <a:lnTo>
                      <a:pt x="347" y="0"/>
                    </a:lnTo>
                    <a:lnTo>
                      <a:pt x="0" y="609"/>
                    </a:ln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>
                  <a:defRPr/>
                </a:pPr>
                <a:endParaRPr lang="fr-FR">
                  <a:latin typeface="Arial" charset="0"/>
                  <a:ea typeface="ＭＳ Ｐゴシック" pitchFamily="34" charset="-128"/>
                </a:endParaRPr>
              </a:p>
            </p:txBody>
          </p:sp>
        </p:grpSp>
        <p:sp>
          <p:nvSpPr>
            <p:cNvPr id="69" name="Rectangle 4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453" y="1095"/>
              <a:ext cx="741" cy="5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 type="none" w="lg" len="lg"/>
                  <a:tailEnd type="none" w="lg" len="lg"/>
                </a14:hiddenLine>
              </a:ext>
            </a:extLst>
          </p:spPr>
          <p:txBody>
            <a:bodyPr lIns="91371" tIns="91371" rIns="91371" bIns="91371" anchor="ctr"/>
            <a:lstStyle/>
            <a:p>
              <a:pPr algn="ctr"/>
              <a:r>
                <a:rPr lang="en-US" sz="1300" b="1" dirty="0" err="1"/>
                <a:t>Satisfaire</a:t>
              </a:r>
              <a:r>
                <a:rPr lang="en-US" sz="1300" b="1" dirty="0"/>
                <a:t> </a:t>
              </a:r>
              <a:r>
                <a:rPr lang="en-US" sz="1300" b="1" dirty="0" err="1"/>
                <a:t>nos</a:t>
              </a:r>
              <a:r>
                <a:rPr lang="en-US" sz="1300" b="1" dirty="0"/>
                <a:t> </a:t>
              </a:r>
            </a:p>
            <a:p>
              <a:pPr algn="ctr"/>
              <a:r>
                <a:rPr lang="en-US" sz="1300" b="1" dirty="0"/>
                <a:t>clients</a:t>
              </a:r>
            </a:p>
          </p:txBody>
        </p:sp>
        <p:cxnSp>
          <p:nvCxnSpPr>
            <p:cNvPr id="70" name="Straight Connector 94"/>
            <p:cNvCxnSpPr/>
            <p:nvPr>
              <p:custDataLst>
                <p:tags r:id="rId11"/>
              </p:custDataLst>
            </p:nvPr>
          </p:nvCxnSpPr>
          <p:spPr>
            <a:xfrm flipV="1">
              <a:off x="2288" y="789"/>
              <a:ext cx="472" cy="836"/>
            </a:xfrm>
            <a:prstGeom prst="line">
              <a:avLst/>
            </a:prstGeom>
            <a:ln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1634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48" grpId="0"/>
      <p:bldP spid="49" grpId="0"/>
      <p:bldP spid="51" grpId="0" animBg="1"/>
      <p:bldP spid="52" grpId="0" animBg="1"/>
      <p:bldP spid="5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sp>
        <p:nvSpPr>
          <p:cNvPr id="46086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5826E283-9C57-41CB-98DC-F451E9BA9523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7</a:t>
            </a:fld>
            <a:endParaRPr lang="fr-FR" sz="900" b="1">
              <a:solidFill>
                <a:srgbClr val="9B9B9B"/>
              </a:solidFill>
            </a:endParaRP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>
                  <a:solidFill>
                    <a:srgbClr val="00519E"/>
                  </a:solidFill>
                  <a:latin typeface="Arial Narrow" pitchFamily="34" charset="0"/>
                </a:rPr>
                <a:t>Le groupe STEF </a:t>
              </a:r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(4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2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5" name="Group 69"/>
          <p:cNvGrpSpPr>
            <a:grpSpLocks/>
          </p:cNvGrpSpPr>
          <p:nvPr/>
        </p:nvGrpSpPr>
        <p:grpSpPr bwMode="auto">
          <a:xfrm>
            <a:off x="1598613" y="1260475"/>
            <a:ext cx="2447925" cy="2108200"/>
            <a:chOff x="2290" y="813"/>
            <a:chExt cx="1444" cy="1328"/>
          </a:xfrm>
        </p:grpSpPr>
        <p:pic>
          <p:nvPicPr>
            <p:cNvPr id="76" name="Image 11"/>
            <p:cNvPicPr>
              <a:picLocks noChangeAspect="1"/>
            </p:cNvPicPr>
            <p:nvPr>
              <p:custDataLst>
                <p:tags r:id="rId23"/>
              </p:custDataLst>
            </p:nvPr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0" y="813"/>
              <a:ext cx="1444" cy="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7" name="Espace réservé du texte 18"/>
            <p:cNvSpPr txBox="1"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513" y="1321"/>
              <a:ext cx="997" cy="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defTabSz="914400"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 err="1">
                  <a:solidFill>
                    <a:schemeClr val="bg1"/>
                  </a:solidFill>
                </a:rPr>
                <a:t>Industrie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agroalimentaire</a:t>
              </a:r>
              <a:endParaRPr lang="en-US" sz="16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78" name="Group 68"/>
          <p:cNvGrpSpPr>
            <a:grpSpLocks/>
          </p:cNvGrpSpPr>
          <p:nvPr/>
        </p:nvGrpSpPr>
        <p:grpSpPr bwMode="auto">
          <a:xfrm>
            <a:off x="1598613" y="3148013"/>
            <a:ext cx="2447925" cy="2108200"/>
            <a:chOff x="2290" y="2002"/>
            <a:chExt cx="1444" cy="1328"/>
          </a:xfrm>
        </p:grpSpPr>
        <p:pic>
          <p:nvPicPr>
            <p:cNvPr id="79" name="Image 10"/>
            <p:cNvPicPr>
              <a:picLocks noChangeAspect="1"/>
            </p:cNvPicPr>
            <p:nvPr>
              <p:custDataLst>
                <p:tags r:id="rId21"/>
              </p:custDataLst>
            </p:nvPr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0" y="2002"/>
              <a:ext cx="1444" cy="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0" name="Espace réservé du texte 18"/>
            <p:cNvSpPr txBox="1"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13" y="2589"/>
              <a:ext cx="99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defTabSz="914400"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Distribution</a:t>
              </a:r>
              <a:endParaRPr lang="en-US" sz="16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81" name="Group 67"/>
          <p:cNvGrpSpPr>
            <a:grpSpLocks/>
          </p:cNvGrpSpPr>
          <p:nvPr/>
        </p:nvGrpSpPr>
        <p:grpSpPr bwMode="auto">
          <a:xfrm>
            <a:off x="1692275" y="5035550"/>
            <a:ext cx="2271713" cy="1908175"/>
            <a:chOff x="2342" y="3191"/>
            <a:chExt cx="1340" cy="1202"/>
          </a:xfrm>
        </p:grpSpPr>
        <p:pic>
          <p:nvPicPr>
            <p:cNvPr id="82" name="Image 4"/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12" t="6033" r="4826" b="3319"/>
            <a:stretch>
              <a:fillRect/>
            </a:stretch>
          </p:blipFill>
          <p:spPr bwMode="auto">
            <a:xfrm>
              <a:off x="2342" y="3191"/>
              <a:ext cx="1340" cy="1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3" name="Espace réservé du texte 18"/>
            <p:cNvSpPr txBox="1"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622" y="3714"/>
              <a:ext cx="781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defTabSz="914400"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 err="1">
                  <a:solidFill>
                    <a:schemeClr val="bg1"/>
                  </a:solidFill>
                </a:rPr>
                <a:t>Restauration</a:t>
              </a:r>
              <a:endParaRPr lang="en-US" sz="16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84" name="Group 70"/>
          <p:cNvGrpSpPr>
            <a:grpSpLocks/>
          </p:cNvGrpSpPr>
          <p:nvPr/>
        </p:nvGrpSpPr>
        <p:grpSpPr bwMode="auto">
          <a:xfrm>
            <a:off x="3863975" y="1592263"/>
            <a:ext cx="3794125" cy="1443037"/>
            <a:chOff x="3619" y="1022"/>
            <a:chExt cx="2390" cy="909"/>
          </a:xfrm>
        </p:grpSpPr>
        <p:sp>
          <p:nvSpPr>
            <p:cNvPr id="85" name="Rectangle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619" y="1022"/>
              <a:ext cx="2390" cy="909"/>
            </a:xfrm>
            <a:prstGeom prst="roundRect">
              <a:avLst>
                <a:gd name="adj" fmla="val 10782"/>
              </a:avLst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7470" tIns="48735" rIns="97470" bIns="48735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86" name="Picture 35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3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8" y="1186"/>
              <a:ext cx="339" cy="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7" name="Picture 28" descr="Nestlé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1" y="1423"/>
              <a:ext cx="246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8" name="Picture 41" descr="Lactalis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9" y="1725"/>
              <a:ext cx="499" cy="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9" name="Picture 51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0" y="1300"/>
              <a:ext cx="585" cy="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" name="Picture 56" descr="McCormick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>
            <a:blip r:embed="rId36">
              <a:clrChange>
                <a:clrFrom>
                  <a:srgbClr val="FEFEFC"/>
                </a:clrFrom>
                <a:clrTo>
                  <a:srgbClr val="FEFE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5" y="1354"/>
              <a:ext cx="256" cy="2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" name="Picture 39" descr="Tropicana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37">
              <a:clrChange>
                <a:clrFrom>
                  <a:srgbClr val="FCFDF8"/>
                </a:clrFrom>
                <a:clrTo>
                  <a:srgbClr val="FCFDF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2" y="1511"/>
              <a:ext cx="447" cy="1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Picture 40" descr="GSI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9" y="1087"/>
              <a:ext cx="70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3" name="Picture 58" descr="logo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7" y="1457"/>
              <a:ext cx="266" cy="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4" name="Picture 66" descr="Bongrain"/>
            <p:cNvPicPr>
              <a:picLocks noChangeAspect="1" noChangeArrowheads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1" y="1083"/>
              <a:ext cx="275" cy="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5" name="Picture 67" descr="Danone"/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2" y="1646"/>
              <a:ext cx="479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6" name="Picture 68" descr="Bigard"/>
            <p:cNvPicPr>
              <a:picLocks noChangeAspect="1" noChangeArrowheads="1"/>
            </p:cNvPicPr>
            <p:nvPr/>
          </p:nvPicPr>
          <p:blipFill>
            <a:blip r:embed="rId4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1" y="1632"/>
              <a:ext cx="372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7" name="Picture 69" descr="Andros"/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0" y="1701"/>
              <a:ext cx="479" cy="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8" name="Picture 70" descr="Ferrero"/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4" y="1465"/>
              <a:ext cx="621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9" name="Picture 71" descr="Unilever"/>
            <p:cNvPicPr>
              <a:picLocks noChangeAspect="1" noChangeArrowheads="1"/>
            </p:cNvPicPr>
            <p:nvPr/>
          </p:nvPicPr>
          <p:blipFill>
            <a:blip r:embed="rId4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8" y="1066"/>
              <a:ext cx="272" cy="3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0" name="Picture 72" descr="KraftFoods"/>
            <p:cNvPicPr>
              <a:picLocks noChangeAspect="1" noChangeArrowheads="1"/>
            </p:cNvPicPr>
            <p:nvPr/>
          </p:nvPicPr>
          <p:blipFill>
            <a:blip r:embed="rId4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7" y="1039"/>
              <a:ext cx="582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1" name="Group 71"/>
          <p:cNvGrpSpPr>
            <a:grpSpLocks/>
          </p:cNvGrpSpPr>
          <p:nvPr/>
        </p:nvGrpSpPr>
        <p:grpSpPr bwMode="auto">
          <a:xfrm>
            <a:off x="3863975" y="3478213"/>
            <a:ext cx="3794125" cy="1447800"/>
            <a:chOff x="3619" y="2210"/>
            <a:chExt cx="2390" cy="912"/>
          </a:xfrm>
        </p:grpSpPr>
        <p:sp>
          <p:nvSpPr>
            <p:cNvPr id="102" name="Rectangle 3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619" y="2210"/>
              <a:ext cx="2390" cy="912"/>
            </a:xfrm>
            <a:prstGeom prst="roundRect">
              <a:avLst>
                <a:gd name="adj" fmla="val 11454"/>
              </a:avLst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7470" tIns="48735" rIns="97470" bIns="48735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103" name="Picture 38" descr="Carrefour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47">
              <a:clrChange>
                <a:clrFrom>
                  <a:srgbClr val="FFFDFE"/>
                </a:clrFrom>
                <a:clrTo>
                  <a:srgbClr val="FFFD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1" y="2927"/>
              <a:ext cx="762" cy="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" name="Picture 47" descr="ITM_logo2010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2" y="2257"/>
              <a:ext cx="366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73" descr="leclerc_rond"/>
            <p:cNvPicPr>
              <a:picLocks noChangeAspect="1" noChangeArrowheads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1" y="2515"/>
              <a:ext cx="270" cy="2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6" name="Picture 74" descr="Dia"/>
            <p:cNvPicPr>
              <a:picLocks noChangeAspect="1" noChangeArrowheads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8" y="2663"/>
              <a:ext cx="491" cy="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" name="Picture 75" descr="Lidl"/>
            <p:cNvPicPr>
              <a:picLocks noChangeAspect="1" noChangeArrowheads="1"/>
            </p:cNvPicPr>
            <p:nvPr/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7" y="2521"/>
              <a:ext cx="272" cy="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Picture 76" descr="Cora"/>
            <p:cNvPicPr>
              <a:picLocks noChangeAspect="1" noChangeArrowheads="1"/>
            </p:cNvPicPr>
            <p:nvPr/>
          </p:nvPicPr>
          <p:blipFill>
            <a:blip r:embed="rId5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" y="2832"/>
              <a:ext cx="286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Picture 77" descr="Biocoop"/>
            <p:cNvPicPr>
              <a:picLocks noChangeAspect="1" noChangeArrowheads="1"/>
            </p:cNvPicPr>
            <p:nvPr/>
          </p:nvPicPr>
          <p:blipFill>
            <a:blip r:embed="rId5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3" y="2213"/>
              <a:ext cx="731" cy="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78" descr="Casino"/>
            <p:cNvPicPr>
              <a:picLocks noChangeAspect="1" noChangeArrowheads="1"/>
            </p:cNvPicPr>
            <p:nvPr/>
          </p:nvPicPr>
          <p:blipFill>
            <a:blip r:embed="rId5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738" b="27527"/>
            <a:stretch>
              <a:fillRect/>
            </a:stretch>
          </p:blipFill>
          <p:spPr bwMode="auto">
            <a:xfrm>
              <a:off x="4780" y="2250"/>
              <a:ext cx="723" cy="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Picture 79" descr="Picard"/>
            <p:cNvPicPr>
              <a:picLocks noChangeAspect="1" noChangeArrowheads="1"/>
            </p:cNvPicPr>
            <p:nvPr/>
          </p:nvPicPr>
          <p:blipFill>
            <a:blip r:embed="rId5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" y="2220"/>
              <a:ext cx="417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" name="Picture 80" descr="El Corte Ingles"/>
            <p:cNvPicPr>
              <a:picLocks noChangeAspect="1" noChangeArrowheads="1"/>
            </p:cNvPicPr>
            <p:nvPr/>
          </p:nvPicPr>
          <p:blipFill>
            <a:blip r:embed="rId5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4" y="2530"/>
              <a:ext cx="466" cy="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Picture 81" descr="GrupoEroski"/>
            <p:cNvPicPr>
              <a:picLocks noChangeAspect="1" noChangeArrowheads="1"/>
            </p:cNvPicPr>
            <p:nvPr/>
          </p:nvPicPr>
          <p:blipFill>
            <a:blip r:embed="rId5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7" y="2865"/>
              <a:ext cx="657" cy="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4" name="Group 72"/>
          <p:cNvGrpSpPr>
            <a:grpSpLocks/>
          </p:cNvGrpSpPr>
          <p:nvPr/>
        </p:nvGrpSpPr>
        <p:grpSpPr bwMode="auto">
          <a:xfrm>
            <a:off x="3863975" y="5267325"/>
            <a:ext cx="3794125" cy="1447800"/>
            <a:chOff x="3619" y="3337"/>
            <a:chExt cx="2390" cy="912"/>
          </a:xfrm>
        </p:grpSpPr>
        <p:sp>
          <p:nvSpPr>
            <p:cNvPr id="115" name="Rectangle 3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619" y="3337"/>
              <a:ext cx="2390" cy="912"/>
            </a:xfrm>
            <a:prstGeom prst="roundRect">
              <a:avLst>
                <a:gd name="adj" fmla="val 11440"/>
              </a:avLst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7470" tIns="48735" rIns="97470" bIns="48735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116" name="Picture 43" descr="IKEA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8" y="3442"/>
              <a:ext cx="449" cy="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Picture 49" descr="BRAKE%2520FRANCE">
              <a:hlinkClick r:id="rId59"/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0" y="3736"/>
              <a:ext cx="379" cy="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8" name="Picture 19" descr="More Pizza Hut®">
              <a:hlinkClick r:id="rId61" tooltip="More Pizza Hut®"/>
            </p:cNvPr>
            <p:cNvPicPr preferRelativeResize="0"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6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2" y="3365"/>
              <a:ext cx="398" cy="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9" name="Picture 48" descr="starbucks_logo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3" y="3691"/>
              <a:ext cx="256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0" name="Picture 20" descr="logo avec texte taille ;qxi;qle"/>
            <p:cNvPicPr preferRelativeResize="0"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64">
              <a:clrChange>
                <a:clrFrom>
                  <a:srgbClr val="FEFEFC"/>
                </a:clrFrom>
                <a:clrTo>
                  <a:srgbClr val="FEFE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3" y="3643"/>
              <a:ext cx="322" cy="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1" name="Picture 66" descr="Servair_logo"/>
            <p:cNvPicPr>
              <a:picLocks noChangeAspect="1" noChangeArrowheads="1"/>
            </p:cNvPicPr>
            <p:nvPr/>
          </p:nvPicPr>
          <p:blipFill>
            <a:blip r:embed="rId6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0" y="3407"/>
              <a:ext cx="718" cy="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" name="Picture 67" descr="Yum"/>
            <p:cNvPicPr>
              <a:picLocks noChangeAspect="1" noChangeArrowheads="1"/>
            </p:cNvPicPr>
            <p:nvPr/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6" y="3705"/>
              <a:ext cx="309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3" name="Picture 69" descr="logoleduff"/>
            <p:cNvPicPr>
              <a:picLocks noChangeAspect="1" noChangeArrowheads="1"/>
            </p:cNvPicPr>
            <p:nvPr/>
          </p:nvPicPr>
          <p:blipFill>
            <a:blip r:embed="rId6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1" y="4018"/>
              <a:ext cx="45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4" name="Picture 83" descr="LR Services"/>
            <p:cNvPicPr>
              <a:picLocks noChangeAspect="1" noChangeArrowheads="1"/>
            </p:cNvPicPr>
            <p:nvPr/>
          </p:nvPicPr>
          <p:blipFill>
            <a:blip r:embed="rId6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4" y="4020"/>
              <a:ext cx="638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5" name="Picture 84" descr="Sodexo"/>
            <p:cNvPicPr>
              <a:picLocks noChangeAspect="1" noChangeArrowheads="1"/>
            </p:cNvPicPr>
            <p:nvPr/>
          </p:nvPicPr>
          <p:blipFill>
            <a:blip r:embed="rId6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413" b="26369"/>
            <a:stretch>
              <a:fillRect/>
            </a:stretch>
          </p:blipFill>
          <p:spPr bwMode="auto">
            <a:xfrm>
              <a:off x="4484" y="3988"/>
              <a:ext cx="561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6" name="Picture 86" descr="Subway"/>
            <p:cNvPicPr>
              <a:picLocks noChangeAspect="1" noChangeArrowheads="1"/>
            </p:cNvPicPr>
            <p:nvPr/>
          </p:nvPicPr>
          <p:blipFill>
            <a:blip r:embed="rId7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8" y="3394"/>
              <a:ext cx="523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7" name="Picture 87" descr="McDonald's"/>
            <p:cNvPicPr>
              <a:picLocks noChangeAspect="1" noChangeArrowheads="1"/>
            </p:cNvPicPr>
            <p:nvPr/>
          </p:nvPicPr>
          <p:blipFill>
            <a:blip r:embed="rId7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8" y="3684"/>
              <a:ext cx="305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8" name="Picture 88" descr="KFC"/>
            <p:cNvPicPr>
              <a:picLocks noChangeAspect="1" noChangeArrowheads="1"/>
            </p:cNvPicPr>
            <p:nvPr/>
          </p:nvPicPr>
          <p:blipFill>
            <a:blip r:embed="rId7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8" y="3860"/>
              <a:ext cx="257" cy="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9331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9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sp>
        <p:nvSpPr>
          <p:cNvPr id="46086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5826E283-9C57-41CB-98DC-F451E9BA9523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8</a:t>
            </a:fld>
            <a:endParaRPr lang="fr-FR" sz="900" b="1">
              <a:solidFill>
                <a:srgbClr val="9B9B9B"/>
              </a:solidFill>
            </a:endParaRP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STEF IT (1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319" y="1251055"/>
            <a:ext cx="3302961" cy="1026596"/>
          </a:xfrm>
          <a:prstGeom prst="rect">
            <a:avLst/>
          </a:prstGeom>
        </p:spPr>
      </p:pic>
      <p:grpSp>
        <p:nvGrpSpPr>
          <p:cNvPr id="65" name="Group 265"/>
          <p:cNvGrpSpPr>
            <a:grpSpLocks/>
          </p:cNvGrpSpPr>
          <p:nvPr/>
        </p:nvGrpSpPr>
        <p:grpSpPr bwMode="auto">
          <a:xfrm>
            <a:off x="55804" y="2983453"/>
            <a:ext cx="10204018" cy="4057109"/>
            <a:chOff x="-129" y="567"/>
            <a:chExt cx="6156" cy="1971"/>
          </a:xfrm>
        </p:grpSpPr>
        <p:pic>
          <p:nvPicPr>
            <p:cNvPr id="66" name="Image 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9" y="567"/>
              <a:ext cx="6156" cy="1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7" name="ZoneTexte 13"/>
            <p:cNvSpPr txBox="1">
              <a:spLocks noChangeArrowheads="1"/>
            </p:cNvSpPr>
            <p:nvPr/>
          </p:nvSpPr>
          <p:spPr bwMode="auto">
            <a:xfrm>
              <a:off x="1450" y="986"/>
              <a:ext cx="2998" cy="5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eaLnBrk="1" hangingPunct="1"/>
              <a:r>
                <a:rPr lang="fr-FR" sz="2000" b="1" dirty="0"/>
                <a:t>En interne, maintenir et développer un système d’information unifié et cohérent au service des métiers du Groupe </a:t>
              </a:r>
              <a:endParaRPr lang="fr-FR" sz="2000" b="1" dirty="0">
                <a:solidFill>
                  <a:schemeClr val="tx2"/>
                </a:solidFill>
              </a:endParaRPr>
            </a:p>
          </p:txBody>
        </p:sp>
        <p:sp>
          <p:nvSpPr>
            <p:cNvPr id="68" name="ZoneTexte 14"/>
            <p:cNvSpPr txBox="1">
              <a:spLocks noChangeArrowheads="1"/>
            </p:cNvSpPr>
            <p:nvPr/>
          </p:nvSpPr>
          <p:spPr bwMode="auto">
            <a:xfrm>
              <a:off x="1160" y="1656"/>
              <a:ext cx="3633" cy="5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35982" rIns="0" bIns="35982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eaLnBrk="1" hangingPunct="1">
                <a:buFont typeface="Wingdings" pitchFamily="2" charset="2"/>
                <a:buNone/>
              </a:pPr>
              <a:r>
                <a:rPr lang="fr-FR" sz="2000" b="1" dirty="0">
                  <a:solidFill>
                    <a:schemeClr val="bg1"/>
                  </a:solidFill>
                </a:rPr>
                <a:t>En externe, proposer des solutions logicielles pour optimiser la chaîne logistique des industriels et des distributeurs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9" name="Text Box 2"/>
          <p:cNvSpPr txBox="1">
            <a:spLocks noChangeArrowheads="1"/>
          </p:cNvSpPr>
          <p:nvPr/>
        </p:nvSpPr>
        <p:spPr bwMode="auto">
          <a:xfrm>
            <a:off x="1853315" y="2586475"/>
            <a:ext cx="6046968" cy="523194"/>
          </a:xfrm>
          <a:prstGeom prst="rect">
            <a:avLst/>
          </a:prstGeom>
          <a:noFill/>
          <a:ln>
            <a:noFill/>
          </a:ln>
          <a:effectLst>
            <a:prstShdw prst="shdw12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7" rIns="91411" bIns="45707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-84" charset="-128"/>
              </a:defRPr>
            </a:lvl9pPr>
          </a:lstStyle>
          <a:p>
            <a:pPr algn="ctr" defTabSz="914400" eaLnBrk="1" hangingPunct="1">
              <a:spcBef>
                <a:spcPct val="50000"/>
              </a:spcBef>
            </a:pPr>
            <a:r>
              <a:rPr lang="en-US" sz="2800" b="1" dirty="0" smtClean="0">
                <a:solidFill>
                  <a:schemeClr val="tx2"/>
                </a:solidFill>
              </a:rPr>
              <a:t>Une double mission</a:t>
            </a:r>
            <a:endParaRPr lang="en-US" sz="2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93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1" name="Picture 8" descr="STEF_Header_mauve"/>
          <p:cNvPicPr>
            <a:picLocks noChangeAspect="1" noChangeArrowheads="1"/>
          </p:cNvPicPr>
          <p:nvPr/>
        </p:nvPicPr>
        <p:blipFill>
          <a:blip r:embed="rId2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2" name="Titre 1"/>
          <p:cNvSpPr>
            <a:spLocks noGrp="1"/>
          </p:cNvSpPr>
          <p:nvPr>
            <p:ph type="title" idx="4294967295"/>
          </p:nvPr>
        </p:nvSpPr>
        <p:spPr>
          <a:xfrm>
            <a:off x="1279525" y="0"/>
            <a:ext cx="7756525" cy="846138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chemeClr val="bg1"/>
                </a:solidFill>
                <a:ea typeface="ＭＳ Ｐゴシック" pitchFamily="-106" charset="-128"/>
              </a:rPr>
              <a:t>Contexte</a:t>
            </a:r>
          </a:p>
        </p:txBody>
      </p:sp>
      <p:sp>
        <p:nvSpPr>
          <p:cNvPr id="46086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5826E283-9C57-41CB-98DC-F451E9BA9523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9</a:t>
            </a:fld>
            <a:endParaRPr lang="fr-FR" sz="900" b="1">
              <a:solidFill>
                <a:srgbClr val="9B9B9B"/>
              </a:solidFill>
            </a:endParaRPr>
          </a:p>
        </p:txBody>
      </p:sp>
      <p:grpSp>
        <p:nvGrpSpPr>
          <p:cNvPr id="9" name="Groupe 19"/>
          <p:cNvGrpSpPr>
            <a:grpSpLocks/>
          </p:cNvGrpSpPr>
          <p:nvPr/>
        </p:nvGrpSpPr>
        <p:grpSpPr bwMode="auto">
          <a:xfrm>
            <a:off x="4684004" y="263952"/>
            <a:ext cx="4767044" cy="405545"/>
            <a:chOff x="12499478" y="297741"/>
            <a:chExt cx="18471321" cy="1044216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499478" y="320920"/>
              <a:ext cx="18471321" cy="1021037"/>
            </a:xfrm>
            <a:prstGeom prst="rect">
              <a:avLst/>
            </a:prstGeom>
            <a:gradFill rotWithShape="1">
              <a:gsLst>
                <a:gs pos="0">
                  <a:srgbClr val="A6A6A6"/>
                </a:gs>
                <a:gs pos="50000">
                  <a:srgbClr val="D9D9D9"/>
                </a:gs>
                <a:gs pos="100000">
                  <a:srgbClr val="F2F2F2"/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srgbClr val="00000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7529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6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ZoneTexte 22"/>
            <p:cNvSpPr txBox="1">
              <a:spLocks noChangeArrowheads="1"/>
            </p:cNvSpPr>
            <p:nvPr/>
          </p:nvSpPr>
          <p:spPr bwMode="auto">
            <a:xfrm>
              <a:off x="15775633" y="297741"/>
              <a:ext cx="14005731" cy="1030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5pPr>
              <a:lvl6pPr marL="25146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6pPr>
              <a:lvl7pPr marL="29718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7pPr>
              <a:lvl8pPr marL="34290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8pPr>
              <a:lvl9pPr marL="3886200" indent="-228600" defTabSz="974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pitchFamily="-106" charset="-128"/>
                </a:defRPr>
              </a:lvl9pPr>
            </a:lstStyle>
            <a:p>
              <a:pPr eaLnBrk="1" hangingPunct="1"/>
              <a:r>
                <a:rPr lang="fr-FR" sz="2000" b="1" dirty="0">
                  <a:solidFill>
                    <a:srgbClr val="00519E"/>
                  </a:solidFill>
                  <a:latin typeface="Arial Narrow" pitchFamily="34" charset="0"/>
                </a:rPr>
                <a:t>STEF IT </a:t>
              </a:r>
              <a:r>
                <a:rPr lang="fr-FR" sz="2000" b="1" dirty="0" smtClean="0">
                  <a:solidFill>
                    <a:srgbClr val="00519E"/>
                  </a:solidFill>
                  <a:latin typeface="Arial Narrow" pitchFamily="34" charset="0"/>
                </a:rPr>
                <a:t>(2/4)</a:t>
              </a:r>
              <a:endParaRPr lang="fr-FR" sz="2000" b="1" dirty="0">
                <a:solidFill>
                  <a:srgbClr val="00519E"/>
                </a:solidFill>
                <a:latin typeface="Arial Narrow" pitchFamily="34" charset="0"/>
              </a:endParaRPr>
            </a:p>
          </p:txBody>
        </p:sp>
      </p:grpSp>
      <p:pic>
        <p:nvPicPr>
          <p:cNvPr id="10" name="Image 3"/>
          <p:cNvPicPr>
            <a:picLocks noChangeAspect="1"/>
          </p:cNvPicPr>
          <p:nvPr/>
        </p:nvPicPr>
        <p:blipFill>
          <a:blip r:embed="rId23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622" y="-18638"/>
            <a:ext cx="1109771" cy="101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numéro de diapositive 7"/>
          <p:cNvSpPr txBox="1">
            <a:spLocks noGrp="1"/>
          </p:cNvSpPr>
          <p:nvPr/>
        </p:nvSpPr>
        <p:spPr bwMode="auto">
          <a:xfrm>
            <a:off x="9015413" y="7040563"/>
            <a:ext cx="720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algn="ctr" eaLnBrk="1" hangingPunct="1"/>
            <a:fld id="{5826E283-9C57-41CB-98DC-F451E9BA9523}" type="slidenum">
              <a:rPr lang="fr-FR" sz="900" b="1">
                <a:solidFill>
                  <a:srgbClr val="9B9B9B"/>
                </a:solidFill>
              </a:rPr>
              <a:pPr algn="ctr" eaLnBrk="1" hangingPunct="1"/>
              <a:t>9</a:t>
            </a:fld>
            <a:endParaRPr lang="fr-FR" sz="900" b="1">
              <a:solidFill>
                <a:srgbClr val="9B9B9B"/>
              </a:solidFill>
            </a:endParaRPr>
          </a:p>
        </p:txBody>
      </p:sp>
      <p:pic>
        <p:nvPicPr>
          <p:cNvPr id="14" name="Picture 8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661"/>
          <a:stretch>
            <a:fillRect/>
          </a:stretch>
        </p:blipFill>
        <p:spPr bwMode="auto">
          <a:xfrm>
            <a:off x="3994150" y="968375"/>
            <a:ext cx="5722938" cy="601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22"/>
          <p:cNvGrpSpPr>
            <a:grpSpLocks/>
          </p:cNvGrpSpPr>
          <p:nvPr/>
        </p:nvGrpSpPr>
        <p:grpSpPr bwMode="auto">
          <a:xfrm>
            <a:off x="2598290" y="5891213"/>
            <a:ext cx="974725" cy="762000"/>
            <a:chOff x="1893" y="3479"/>
            <a:chExt cx="575" cy="450"/>
          </a:xfrm>
        </p:grpSpPr>
        <p:sp>
          <p:nvSpPr>
            <p:cNvPr id="16" name="Freeform 180"/>
            <p:cNvSpPr>
              <a:spLocks noChangeAspect="1"/>
            </p:cNvSpPr>
            <p:nvPr>
              <p:custDataLst>
                <p:tags r:id="rId228"/>
              </p:custDataLst>
            </p:nvPr>
          </p:nvSpPr>
          <p:spPr bwMode="auto">
            <a:xfrm>
              <a:off x="2340" y="3479"/>
              <a:ext cx="128" cy="450"/>
            </a:xfrm>
            <a:custGeom>
              <a:avLst/>
              <a:gdLst>
                <a:gd name="T0" fmla="*/ 0 w 174"/>
                <a:gd name="T1" fmla="*/ 0 h 361"/>
                <a:gd name="T2" fmla="*/ 1841308 w 174"/>
                <a:gd name="T3" fmla="*/ 2147483647 h 361"/>
                <a:gd name="T4" fmla="*/ 1841308 w 174"/>
                <a:gd name="T5" fmla="*/ 2147483647 h 361"/>
                <a:gd name="T6" fmla="*/ 0 60000 65536"/>
                <a:gd name="T7" fmla="*/ 0 60000 65536"/>
                <a:gd name="T8" fmla="*/ 0 60000 65536"/>
                <a:gd name="T9" fmla="*/ 0 w 174"/>
                <a:gd name="T10" fmla="*/ 0 h 361"/>
                <a:gd name="T11" fmla="*/ 174 w 174"/>
                <a:gd name="T12" fmla="*/ 361 h 36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4" h="361">
                  <a:moveTo>
                    <a:pt x="0" y="0"/>
                  </a:moveTo>
                  <a:lnTo>
                    <a:pt x="174" y="100"/>
                  </a:lnTo>
                  <a:lnTo>
                    <a:pt x="174" y="361"/>
                  </a:lnTo>
                </a:path>
              </a:pathLst>
            </a:custGeom>
            <a:noFill/>
            <a:ln w="19050">
              <a:solidFill>
                <a:srgbClr val="DDDDD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7" name="Freeform 90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1936" y="3698"/>
              <a:ext cx="36" cy="51"/>
            </a:xfrm>
            <a:custGeom>
              <a:avLst/>
              <a:gdLst>
                <a:gd name="T0" fmla="*/ 9 w 38"/>
                <a:gd name="T1" fmla="*/ 0 h 54"/>
                <a:gd name="T2" fmla="*/ 9 w 38"/>
                <a:gd name="T3" fmla="*/ 0 h 54"/>
                <a:gd name="T4" fmla="*/ 9 w 38"/>
                <a:gd name="T5" fmla="*/ 1 h 54"/>
                <a:gd name="T6" fmla="*/ 9 w 38"/>
                <a:gd name="T7" fmla="*/ 1 h 54"/>
                <a:gd name="T8" fmla="*/ 9 w 38"/>
                <a:gd name="T9" fmla="*/ 2 h 54"/>
                <a:gd name="T10" fmla="*/ 7 w 38"/>
                <a:gd name="T11" fmla="*/ 4 h 54"/>
                <a:gd name="T12" fmla="*/ 6 w 38"/>
                <a:gd name="T13" fmla="*/ 4 h 54"/>
                <a:gd name="T14" fmla="*/ 4 w 38"/>
                <a:gd name="T15" fmla="*/ 6 h 54"/>
                <a:gd name="T16" fmla="*/ 3 w 38"/>
                <a:gd name="T17" fmla="*/ 7 h 54"/>
                <a:gd name="T18" fmla="*/ 2 w 38"/>
                <a:gd name="T19" fmla="*/ 8 h 54"/>
                <a:gd name="T20" fmla="*/ 1 w 38"/>
                <a:gd name="T21" fmla="*/ 9 h 54"/>
                <a:gd name="T22" fmla="*/ 1 w 38"/>
                <a:gd name="T23" fmla="*/ 9 h 54"/>
                <a:gd name="T24" fmla="*/ 0 w 38"/>
                <a:gd name="T25" fmla="*/ 9 h 54"/>
                <a:gd name="T26" fmla="*/ 1 w 38"/>
                <a:gd name="T27" fmla="*/ 9 h 54"/>
                <a:gd name="T28" fmla="*/ 2 w 38"/>
                <a:gd name="T29" fmla="*/ 9 h 54"/>
                <a:gd name="T30" fmla="*/ 3 w 38"/>
                <a:gd name="T31" fmla="*/ 9 h 54"/>
                <a:gd name="T32" fmla="*/ 4 w 38"/>
                <a:gd name="T33" fmla="*/ 9 h 54"/>
                <a:gd name="T34" fmla="*/ 8 w 38"/>
                <a:gd name="T35" fmla="*/ 11 h 54"/>
                <a:gd name="T36" fmla="*/ 9 w 38"/>
                <a:gd name="T37" fmla="*/ 15 h 54"/>
                <a:gd name="T38" fmla="*/ 9 w 38"/>
                <a:gd name="T39" fmla="*/ 15 h 54"/>
                <a:gd name="T40" fmla="*/ 9 w 38"/>
                <a:gd name="T41" fmla="*/ 16 h 54"/>
                <a:gd name="T42" fmla="*/ 9 w 38"/>
                <a:gd name="T43" fmla="*/ 16 h 54"/>
                <a:gd name="T44" fmla="*/ 9 w 38"/>
                <a:gd name="T45" fmla="*/ 16 h 54"/>
                <a:gd name="T46" fmla="*/ 9 w 38"/>
                <a:gd name="T47" fmla="*/ 16 h 54"/>
                <a:gd name="T48" fmla="*/ 9 w 38"/>
                <a:gd name="T49" fmla="*/ 15 h 54"/>
                <a:gd name="T50" fmla="*/ 9 w 38"/>
                <a:gd name="T51" fmla="*/ 15 h 54"/>
                <a:gd name="T52" fmla="*/ 9 w 38"/>
                <a:gd name="T53" fmla="*/ 15 h 54"/>
                <a:gd name="T54" fmla="*/ 9 w 38"/>
                <a:gd name="T55" fmla="*/ 11 h 54"/>
                <a:gd name="T56" fmla="*/ 9 w 38"/>
                <a:gd name="T57" fmla="*/ 9 h 54"/>
                <a:gd name="T58" fmla="*/ 9 w 38"/>
                <a:gd name="T59" fmla="*/ 9 h 54"/>
                <a:gd name="T60" fmla="*/ 9 w 38"/>
                <a:gd name="T61" fmla="*/ 9 h 54"/>
                <a:gd name="T62" fmla="*/ 10 w 38"/>
                <a:gd name="T63" fmla="*/ 9 h 54"/>
                <a:gd name="T64" fmla="*/ 10 w 38"/>
                <a:gd name="T65" fmla="*/ 9 h 54"/>
                <a:gd name="T66" fmla="*/ 10 w 38"/>
                <a:gd name="T67" fmla="*/ 9 h 54"/>
                <a:gd name="T68" fmla="*/ 9 w 38"/>
                <a:gd name="T69" fmla="*/ 9 h 54"/>
                <a:gd name="T70" fmla="*/ 9 w 38"/>
                <a:gd name="T71" fmla="*/ 9 h 54"/>
                <a:gd name="T72" fmla="*/ 9 w 38"/>
                <a:gd name="T73" fmla="*/ 7 h 54"/>
                <a:gd name="T74" fmla="*/ 9 w 38"/>
                <a:gd name="T75" fmla="*/ 4 h 54"/>
                <a:gd name="T76" fmla="*/ 9 w 38"/>
                <a:gd name="T77" fmla="*/ 2 h 54"/>
                <a:gd name="T78" fmla="*/ 9 w 38"/>
                <a:gd name="T79" fmla="*/ 1 h 54"/>
                <a:gd name="T80" fmla="*/ 9 w 38"/>
                <a:gd name="T81" fmla="*/ 0 h 5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8"/>
                <a:gd name="T124" fmla="*/ 0 h 54"/>
                <a:gd name="T125" fmla="*/ 38 w 38"/>
                <a:gd name="T126" fmla="*/ 54 h 5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8" h="54">
                  <a:moveTo>
                    <a:pt x="25" y="0"/>
                  </a:moveTo>
                  <a:lnTo>
                    <a:pt x="21" y="0"/>
                  </a:lnTo>
                  <a:lnTo>
                    <a:pt x="16" y="1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7"/>
                  </a:lnTo>
                  <a:lnTo>
                    <a:pt x="2" y="8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0" y="14"/>
                  </a:lnTo>
                  <a:lnTo>
                    <a:pt x="1" y="19"/>
                  </a:lnTo>
                  <a:lnTo>
                    <a:pt x="2" y="24"/>
                  </a:lnTo>
                  <a:lnTo>
                    <a:pt x="3" y="28"/>
                  </a:lnTo>
                  <a:lnTo>
                    <a:pt x="4" y="32"/>
                  </a:lnTo>
                  <a:lnTo>
                    <a:pt x="8" y="41"/>
                  </a:lnTo>
                  <a:lnTo>
                    <a:pt x="12" y="51"/>
                  </a:lnTo>
                  <a:lnTo>
                    <a:pt x="13" y="52"/>
                  </a:lnTo>
                  <a:lnTo>
                    <a:pt x="15" y="54"/>
                  </a:lnTo>
                  <a:lnTo>
                    <a:pt x="17" y="54"/>
                  </a:lnTo>
                  <a:lnTo>
                    <a:pt x="19" y="54"/>
                  </a:lnTo>
                  <a:lnTo>
                    <a:pt x="22" y="54"/>
                  </a:lnTo>
                  <a:lnTo>
                    <a:pt x="24" y="53"/>
                  </a:lnTo>
                  <a:lnTo>
                    <a:pt x="25" y="52"/>
                  </a:lnTo>
                  <a:lnTo>
                    <a:pt x="27" y="51"/>
                  </a:lnTo>
                  <a:lnTo>
                    <a:pt x="31" y="42"/>
                  </a:lnTo>
                  <a:lnTo>
                    <a:pt x="35" y="36"/>
                  </a:lnTo>
                  <a:lnTo>
                    <a:pt x="36" y="32"/>
                  </a:lnTo>
                  <a:lnTo>
                    <a:pt x="37" y="28"/>
                  </a:lnTo>
                  <a:lnTo>
                    <a:pt x="38" y="24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37" y="13"/>
                  </a:lnTo>
                  <a:lnTo>
                    <a:pt x="37" y="10"/>
                  </a:lnTo>
                  <a:lnTo>
                    <a:pt x="35" y="7"/>
                  </a:lnTo>
                  <a:lnTo>
                    <a:pt x="33" y="4"/>
                  </a:lnTo>
                  <a:lnTo>
                    <a:pt x="31" y="2"/>
                  </a:lnTo>
                  <a:lnTo>
                    <a:pt x="28" y="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" name="Freeform 91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1893" y="3819"/>
              <a:ext cx="43" cy="34"/>
            </a:xfrm>
            <a:custGeom>
              <a:avLst/>
              <a:gdLst>
                <a:gd name="T0" fmla="*/ 0 w 46"/>
                <a:gd name="T1" fmla="*/ 9 h 36"/>
                <a:gd name="T2" fmla="*/ 0 w 46"/>
                <a:gd name="T3" fmla="*/ 9 h 36"/>
                <a:gd name="T4" fmla="*/ 1 w 46"/>
                <a:gd name="T5" fmla="*/ 9 h 36"/>
                <a:gd name="T6" fmla="*/ 2 w 46"/>
                <a:gd name="T7" fmla="*/ 9 h 36"/>
                <a:gd name="T8" fmla="*/ 4 w 46"/>
                <a:gd name="T9" fmla="*/ 9 h 36"/>
                <a:gd name="T10" fmla="*/ 7 w 46"/>
                <a:gd name="T11" fmla="*/ 9 h 36"/>
                <a:gd name="T12" fmla="*/ 7 w 46"/>
                <a:gd name="T13" fmla="*/ 9 h 36"/>
                <a:gd name="T14" fmla="*/ 7 w 46"/>
                <a:gd name="T15" fmla="*/ 9 h 36"/>
                <a:gd name="T16" fmla="*/ 7 w 46"/>
                <a:gd name="T17" fmla="*/ 9 h 36"/>
                <a:gd name="T18" fmla="*/ 7 w 46"/>
                <a:gd name="T19" fmla="*/ 9 h 36"/>
                <a:gd name="T20" fmla="*/ 7 w 46"/>
                <a:gd name="T21" fmla="*/ 9 h 36"/>
                <a:gd name="T22" fmla="*/ 7 w 46"/>
                <a:gd name="T23" fmla="*/ 9 h 36"/>
                <a:gd name="T24" fmla="*/ 7 w 46"/>
                <a:gd name="T25" fmla="*/ 9 h 36"/>
                <a:gd name="T26" fmla="*/ 7 w 46"/>
                <a:gd name="T27" fmla="*/ 9 h 36"/>
                <a:gd name="T28" fmla="*/ 7 w 46"/>
                <a:gd name="T29" fmla="*/ 9 h 36"/>
                <a:gd name="T30" fmla="*/ 7 w 46"/>
                <a:gd name="T31" fmla="*/ 9 h 36"/>
                <a:gd name="T32" fmla="*/ 7 w 46"/>
                <a:gd name="T33" fmla="*/ 9 h 36"/>
                <a:gd name="T34" fmla="*/ 8 w 46"/>
                <a:gd name="T35" fmla="*/ 9 h 36"/>
                <a:gd name="T36" fmla="*/ 8 w 46"/>
                <a:gd name="T37" fmla="*/ 9 h 36"/>
                <a:gd name="T38" fmla="*/ 9 w 46"/>
                <a:gd name="T39" fmla="*/ 9 h 36"/>
                <a:gd name="T40" fmla="*/ 9 w 46"/>
                <a:gd name="T41" fmla="*/ 9 h 36"/>
                <a:gd name="T42" fmla="*/ 9 w 46"/>
                <a:gd name="T43" fmla="*/ 9 h 36"/>
                <a:gd name="T44" fmla="*/ 10 w 46"/>
                <a:gd name="T45" fmla="*/ 9 h 36"/>
                <a:gd name="T46" fmla="*/ 10 w 46"/>
                <a:gd name="T47" fmla="*/ 9 h 36"/>
                <a:gd name="T48" fmla="*/ 10 w 46"/>
                <a:gd name="T49" fmla="*/ 6 h 36"/>
                <a:gd name="T50" fmla="*/ 9 w 46"/>
                <a:gd name="T51" fmla="*/ 1 h 36"/>
                <a:gd name="T52" fmla="*/ 9 w 46"/>
                <a:gd name="T53" fmla="*/ 0 h 36"/>
                <a:gd name="T54" fmla="*/ 9 w 46"/>
                <a:gd name="T55" fmla="*/ 0 h 36"/>
                <a:gd name="T56" fmla="*/ 8 w 46"/>
                <a:gd name="T57" fmla="*/ 0 h 36"/>
                <a:gd name="T58" fmla="*/ 8 w 46"/>
                <a:gd name="T59" fmla="*/ 0 h 36"/>
                <a:gd name="T60" fmla="*/ 7 w 46"/>
                <a:gd name="T61" fmla="*/ 0 h 36"/>
                <a:gd name="T62" fmla="*/ 7 w 46"/>
                <a:gd name="T63" fmla="*/ 0 h 36"/>
                <a:gd name="T64" fmla="*/ 7 w 46"/>
                <a:gd name="T65" fmla="*/ 1 h 36"/>
                <a:gd name="T66" fmla="*/ 7 w 46"/>
                <a:gd name="T67" fmla="*/ 1 h 36"/>
                <a:gd name="T68" fmla="*/ 7 w 46"/>
                <a:gd name="T69" fmla="*/ 2 h 36"/>
                <a:gd name="T70" fmla="*/ 7 w 46"/>
                <a:gd name="T71" fmla="*/ 4 h 36"/>
                <a:gd name="T72" fmla="*/ 7 w 46"/>
                <a:gd name="T73" fmla="*/ 6 h 36"/>
                <a:gd name="T74" fmla="*/ 7 w 46"/>
                <a:gd name="T75" fmla="*/ 9 h 36"/>
                <a:gd name="T76" fmla="*/ 7 w 46"/>
                <a:gd name="T77" fmla="*/ 9 h 36"/>
                <a:gd name="T78" fmla="*/ 4 w 46"/>
                <a:gd name="T79" fmla="*/ 9 h 36"/>
                <a:gd name="T80" fmla="*/ 2 w 46"/>
                <a:gd name="T81" fmla="*/ 9 h 36"/>
                <a:gd name="T82" fmla="*/ 1 w 46"/>
                <a:gd name="T83" fmla="*/ 9 h 36"/>
                <a:gd name="T84" fmla="*/ 0 w 46"/>
                <a:gd name="T85" fmla="*/ 9 h 36"/>
                <a:gd name="T86" fmla="*/ 0 w 46"/>
                <a:gd name="T87" fmla="*/ 9 h 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6"/>
                <a:gd name="T133" fmla="*/ 0 h 36"/>
                <a:gd name="T134" fmla="*/ 46 w 46"/>
                <a:gd name="T135" fmla="*/ 36 h 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6" h="36">
                  <a:moveTo>
                    <a:pt x="0" y="16"/>
                  </a:moveTo>
                  <a:lnTo>
                    <a:pt x="0" y="19"/>
                  </a:lnTo>
                  <a:lnTo>
                    <a:pt x="1" y="23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7" y="30"/>
                  </a:lnTo>
                  <a:lnTo>
                    <a:pt x="9" y="32"/>
                  </a:lnTo>
                  <a:lnTo>
                    <a:pt x="12" y="34"/>
                  </a:lnTo>
                  <a:lnTo>
                    <a:pt x="15" y="35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4" y="36"/>
                  </a:lnTo>
                  <a:lnTo>
                    <a:pt x="27" y="35"/>
                  </a:lnTo>
                  <a:lnTo>
                    <a:pt x="30" y="34"/>
                  </a:lnTo>
                  <a:lnTo>
                    <a:pt x="33" y="32"/>
                  </a:lnTo>
                  <a:lnTo>
                    <a:pt x="35" y="31"/>
                  </a:lnTo>
                  <a:lnTo>
                    <a:pt x="37" y="29"/>
                  </a:lnTo>
                  <a:lnTo>
                    <a:pt x="40" y="26"/>
                  </a:lnTo>
                  <a:lnTo>
                    <a:pt x="42" y="24"/>
                  </a:lnTo>
                  <a:lnTo>
                    <a:pt x="43" y="21"/>
                  </a:lnTo>
                  <a:lnTo>
                    <a:pt x="45" y="19"/>
                  </a:lnTo>
                  <a:lnTo>
                    <a:pt x="45" y="15"/>
                  </a:lnTo>
                  <a:lnTo>
                    <a:pt x="46" y="12"/>
                  </a:lnTo>
                  <a:lnTo>
                    <a:pt x="46" y="9"/>
                  </a:lnTo>
                  <a:lnTo>
                    <a:pt x="46" y="6"/>
                  </a:lnTo>
                  <a:lnTo>
                    <a:pt x="45" y="1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2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1" y="1"/>
                  </a:lnTo>
                  <a:lnTo>
                    <a:pt x="28" y="1"/>
                  </a:lnTo>
                  <a:lnTo>
                    <a:pt x="26" y="2"/>
                  </a:lnTo>
                  <a:lnTo>
                    <a:pt x="23" y="4"/>
                  </a:lnTo>
                  <a:lnTo>
                    <a:pt x="17" y="6"/>
                  </a:lnTo>
                  <a:lnTo>
                    <a:pt x="11" y="9"/>
                  </a:lnTo>
                  <a:lnTo>
                    <a:pt x="8" y="10"/>
                  </a:lnTo>
                  <a:lnTo>
                    <a:pt x="4" y="11"/>
                  </a:lnTo>
                  <a:lnTo>
                    <a:pt x="2" y="12"/>
                  </a:lnTo>
                  <a:lnTo>
                    <a:pt x="1" y="13"/>
                  </a:lnTo>
                  <a:lnTo>
                    <a:pt x="0" y="14"/>
                  </a:lnTo>
                  <a:lnTo>
                    <a:pt x="0" y="16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" name="Freeform 92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2033" y="3739"/>
              <a:ext cx="77" cy="79"/>
            </a:xfrm>
            <a:custGeom>
              <a:avLst/>
              <a:gdLst>
                <a:gd name="T0" fmla="*/ 2 w 82"/>
                <a:gd name="T1" fmla="*/ 8 h 85"/>
                <a:gd name="T2" fmla="*/ 4 w 82"/>
                <a:gd name="T3" fmla="*/ 9 h 85"/>
                <a:gd name="T4" fmla="*/ 8 w 82"/>
                <a:gd name="T5" fmla="*/ 11 h 85"/>
                <a:gd name="T6" fmla="*/ 8 w 82"/>
                <a:gd name="T7" fmla="*/ 12 h 85"/>
                <a:gd name="T8" fmla="*/ 8 w 82"/>
                <a:gd name="T9" fmla="*/ 13 h 85"/>
                <a:gd name="T10" fmla="*/ 8 w 82"/>
                <a:gd name="T11" fmla="*/ 15 h 85"/>
                <a:gd name="T12" fmla="*/ 8 w 82"/>
                <a:gd name="T13" fmla="*/ 16 h 85"/>
                <a:gd name="T14" fmla="*/ 8 w 82"/>
                <a:gd name="T15" fmla="*/ 16 h 85"/>
                <a:gd name="T16" fmla="*/ 8 w 82"/>
                <a:gd name="T17" fmla="*/ 16 h 85"/>
                <a:gd name="T18" fmla="*/ 10 w 82"/>
                <a:gd name="T19" fmla="*/ 16 h 85"/>
                <a:gd name="T20" fmla="*/ 11 w 82"/>
                <a:gd name="T21" fmla="*/ 16 h 85"/>
                <a:gd name="T22" fmla="*/ 12 w 82"/>
                <a:gd name="T23" fmla="*/ 15 h 85"/>
                <a:gd name="T24" fmla="*/ 13 w 82"/>
                <a:gd name="T25" fmla="*/ 14 h 85"/>
                <a:gd name="T26" fmla="*/ 14 w 82"/>
                <a:gd name="T27" fmla="*/ 11 h 85"/>
                <a:gd name="T28" fmla="*/ 14 w 82"/>
                <a:gd name="T29" fmla="*/ 8 h 85"/>
                <a:gd name="T30" fmla="*/ 14 w 82"/>
                <a:gd name="T31" fmla="*/ 7 h 85"/>
                <a:gd name="T32" fmla="*/ 14 w 82"/>
                <a:gd name="T33" fmla="*/ 7 h 85"/>
                <a:gd name="T34" fmla="*/ 17 w 82"/>
                <a:gd name="T35" fmla="*/ 7 h 85"/>
                <a:gd name="T36" fmla="*/ 19 w 82"/>
                <a:gd name="T37" fmla="*/ 7 h 85"/>
                <a:gd name="T38" fmla="*/ 20 w 82"/>
                <a:gd name="T39" fmla="*/ 7 h 85"/>
                <a:gd name="T40" fmla="*/ 20 w 82"/>
                <a:gd name="T41" fmla="*/ 7 h 85"/>
                <a:gd name="T42" fmla="*/ 20 w 82"/>
                <a:gd name="T43" fmla="*/ 7 h 85"/>
                <a:gd name="T44" fmla="*/ 20 w 82"/>
                <a:gd name="T45" fmla="*/ 7 h 85"/>
                <a:gd name="T46" fmla="*/ 19 w 82"/>
                <a:gd name="T47" fmla="*/ 6 h 85"/>
                <a:gd name="T48" fmla="*/ 18 w 82"/>
                <a:gd name="T49" fmla="*/ 2 h 85"/>
                <a:gd name="T50" fmla="*/ 17 w 82"/>
                <a:gd name="T51" fmla="*/ 0 h 85"/>
                <a:gd name="T52" fmla="*/ 16 w 82"/>
                <a:gd name="T53" fmla="*/ 1 h 85"/>
                <a:gd name="T54" fmla="*/ 16 w 82"/>
                <a:gd name="T55" fmla="*/ 3 h 85"/>
                <a:gd name="T56" fmla="*/ 15 w 82"/>
                <a:gd name="T57" fmla="*/ 7 h 85"/>
                <a:gd name="T58" fmla="*/ 14 w 82"/>
                <a:gd name="T59" fmla="*/ 7 h 85"/>
                <a:gd name="T60" fmla="*/ 12 w 82"/>
                <a:gd name="T61" fmla="*/ 7 h 85"/>
                <a:gd name="T62" fmla="*/ 9 w 82"/>
                <a:gd name="T63" fmla="*/ 7 h 85"/>
                <a:gd name="T64" fmla="*/ 8 w 82"/>
                <a:gd name="T65" fmla="*/ 7 h 85"/>
                <a:gd name="T66" fmla="*/ 8 w 82"/>
                <a:gd name="T67" fmla="*/ 7 h 85"/>
                <a:gd name="T68" fmla="*/ 8 w 82"/>
                <a:gd name="T69" fmla="*/ 7 h 85"/>
                <a:gd name="T70" fmla="*/ 5 w 82"/>
                <a:gd name="T71" fmla="*/ 7 h 85"/>
                <a:gd name="T72" fmla="*/ 2 w 82"/>
                <a:gd name="T73" fmla="*/ 7 h 85"/>
                <a:gd name="T74" fmla="*/ 0 w 82"/>
                <a:gd name="T75" fmla="*/ 7 h 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2"/>
                <a:gd name="T115" fmla="*/ 0 h 85"/>
                <a:gd name="T116" fmla="*/ 82 w 82"/>
                <a:gd name="T117" fmla="*/ 85 h 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2" h="85">
                  <a:moveTo>
                    <a:pt x="1" y="43"/>
                  </a:moveTo>
                  <a:lnTo>
                    <a:pt x="2" y="45"/>
                  </a:lnTo>
                  <a:lnTo>
                    <a:pt x="3" y="48"/>
                  </a:lnTo>
                  <a:lnTo>
                    <a:pt x="4" y="50"/>
                  </a:lnTo>
                  <a:lnTo>
                    <a:pt x="5" y="51"/>
                  </a:lnTo>
                  <a:lnTo>
                    <a:pt x="8" y="55"/>
                  </a:lnTo>
                  <a:lnTo>
                    <a:pt x="11" y="57"/>
                  </a:lnTo>
                  <a:lnTo>
                    <a:pt x="15" y="60"/>
                  </a:lnTo>
                  <a:lnTo>
                    <a:pt x="18" y="62"/>
                  </a:lnTo>
                  <a:lnTo>
                    <a:pt x="21" y="66"/>
                  </a:lnTo>
                  <a:lnTo>
                    <a:pt x="24" y="70"/>
                  </a:lnTo>
                  <a:lnTo>
                    <a:pt x="26" y="75"/>
                  </a:lnTo>
                  <a:lnTo>
                    <a:pt x="28" y="80"/>
                  </a:lnTo>
                  <a:lnTo>
                    <a:pt x="30" y="82"/>
                  </a:lnTo>
                  <a:lnTo>
                    <a:pt x="32" y="83"/>
                  </a:lnTo>
                  <a:lnTo>
                    <a:pt x="34" y="84"/>
                  </a:lnTo>
                  <a:lnTo>
                    <a:pt x="36" y="85"/>
                  </a:lnTo>
                  <a:lnTo>
                    <a:pt x="39" y="84"/>
                  </a:lnTo>
                  <a:lnTo>
                    <a:pt x="41" y="84"/>
                  </a:lnTo>
                  <a:lnTo>
                    <a:pt x="43" y="83"/>
                  </a:lnTo>
                  <a:lnTo>
                    <a:pt x="45" y="81"/>
                  </a:lnTo>
                  <a:lnTo>
                    <a:pt x="47" y="80"/>
                  </a:lnTo>
                  <a:lnTo>
                    <a:pt x="49" y="78"/>
                  </a:lnTo>
                  <a:lnTo>
                    <a:pt x="50" y="76"/>
                  </a:lnTo>
                  <a:lnTo>
                    <a:pt x="51" y="74"/>
                  </a:lnTo>
                  <a:lnTo>
                    <a:pt x="53" y="68"/>
                  </a:lnTo>
                  <a:lnTo>
                    <a:pt x="54" y="63"/>
                  </a:lnTo>
                  <a:lnTo>
                    <a:pt x="55" y="58"/>
                  </a:lnTo>
                  <a:lnTo>
                    <a:pt x="56" y="52"/>
                  </a:lnTo>
                  <a:lnTo>
                    <a:pt x="56" y="46"/>
                  </a:lnTo>
                  <a:lnTo>
                    <a:pt x="56" y="41"/>
                  </a:lnTo>
                  <a:lnTo>
                    <a:pt x="56" y="39"/>
                  </a:lnTo>
                  <a:lnTo>
                    <a:pt x="57" y="37"/>
                  </a:lnTo>
                  <a:lnTo>
                    <a:pt x="58" y="36"/>
                  </a:lnTo>
                  <a:lnTo>
                    <a:pt x="60" y="34"/>
                  </a:lnTo>
                  <a:lnTo>
                    <a:pt x="68" y="33"/>
                  </a:lnTo>
                  <a:lnTo>
                    <a:pt x="75" y="31"/>
                  </a:lnTo>
                  <a:lnTo>
                    <a:pt x="77" y="30"/>
                  </a:lnTo>
                  <a:lnTo>
                    <a:pt x="79" y="29"/>
                  </a:lnTo>
                  <a:lnTo>
                    <a:pt x="81" y="28"/>
                  </a:lnTo>
                  <a:lnTo>
                    <a:pt x="81" y="27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2" y="20"/>
                  </a:lnTo>
                  <a:lnTo>
                    <a:pt x="81" y="17"/>
                  </a:lnTo>
                  <a:lnTo>
                    <a:pt x="81" y="13"/>
                  </a:lnTo>
                  <a:lnTo>
                    <a:pt x="79" y="9"/>
                  </a:lnTo>
                  <a:lnTo>
                    <a:pt x="78" y="6"/>
                  </a:lnTo>
                  <a:lnTo>
                    <a:pt x="76" y="4"/>
                  </a:lnTo>
                  <a:lnTo>
                    <a:pt x="73" y="2"/>
                  </a:lnTo>
                  <a:lnTo>
                    <a:pt x="70" y="1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6" y="1"/>
                  </a:lnTo>
                  <a:lnTo>
                    <a:pt x="65" y="1"/>
                  </a:lnTo>
                  <a:lnTo>
                    <a:pt x="63" y="3"/>
                  </a:lnTo>
                  <a:lnTo>
                    <a:pt x="62" y="5"/>
                  </a:lnTo>
                  <a:lnTo>
                    <a:pt x="60" y="8"/>
                  </a:lnTo>
                  <a:lnTo>
                    <a:pt x="58" y="11"/>
                  </a:lnTo>
                  <a:lnTo>
                    <a:pt x="56" y="12"/>
                  </a:lnTo>
                  <a:lnTo>
                    <a:pt x="53" y="14"/>
                  </a:lnTo>
                  <a:lnTo>
                    <a:pt x="49" y="16"/>
                  </a:lnTo>
                  <a:lnTo>
                    <a:pt x="45" y="18"/>
                  </a:lnTo>
                  <a:lnTo>
                    <a:pt x="41" y="20"/>
                  </a:lnTo>
                  <a:lnTo>
                    <a:pt x="37" y="22"/>
                  </a:lnTo>
                  <a:lnTo>
                    <a:pt x="31" y="24"/>
                  </a:lnTo>
                  <a:lnTo>
                    <a:pt x="25" y="26"/>
                  </a:lnTo>
                  <a:lnTo>
                    <a:pt x="18" y="27"/>
                  </a:lnTo>
                  <a:lnTo>
                    <a:pt x="12" y="29"/>
                  </a:lnTo>
                  <a:lnTo>
                    <a:pt x="10" y="30"/>
                  </a:lnTo>
                  <a:lnTo>
                    <a:pt x="7" y="31"/>
                  </a:lnTo>
                  <a:lnTo>
                    <a:pt x="5" y="33"/>
                  </a:lnTo>
                  <a:lnTo>
                    <a:pt x="3" y="34"/>
                  </a:lnTo>
                  <a:lnTo>
                    <a:pt x="2" y="36"/>
                  </a:lnTo>
                  <a:lnTo>
                    <a:pt x="1" y="38"/>
                  </a:lnTo>
                  <a:lnTo>
                    <a:pt x="0" y="40"/>
                  </a:lnTo>
                  <a:lnTo>
                    <a:pt x="1" y="43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" name="Freeform 93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1992" y="3781"/>
              <a:ext cx="27" cy="26"/>
            </a:xfrm>
            <a:custGeom>
              <a:avLst/>
              <a:gdLst>
                <a:gd name="T0" fmla="*/ 0 w 29"/>
                <a:gd name="T1" fmla="*/ 7 h 28"/>
                <a:gd name="T2" fmla="*/ 0 w 29"/>
                <a:gd name="T3" fmla="*/ 7 h 28"/>
                <a:gd name="T4" fmla="*/ 0 w 29"/>
                <a:gd name="T5" fmla="*/ 7 h 28"/>
                <a:gd name="T6" fmla="*/ 2 w 29"/>
                <a:gd name="T7" fmla="*/ 7 h 28"/>
                <a:gd name="T8" fmla="*/ 3 w 29"/>
                <a:gd name="T9" fmla="*/ 7 h 28"/>
                <a:gd name="T10" fmla="*/ 6 w 29"/>
                <a:gd name="T11" fmla="*/ 7 h 28"/>
                <a:gd name="T12" fmla="*/ 7 w 29"/>
                <a:gd name="T13" fmla="*/ 7 h 28"/>
                <a:gd name="T14" fmla="*/ 7 w 29"/>
                <a:gd name="T15" fmla="*/ 7 h 28"/>
                <a:gd name="T16" fmla="*/ 7 w 29"/>
                <a:gd name="T17" fmla="*/ 7 h 28"/>
                <a:gd name="T18" fmla="*/ 7 w 29"/>
                <a:gd name="T19" fmla="*/ 7 h 28"/>
                <a:gd name="T20" fmla="*/ 7 w 29"/>
                <a:gd name="T21" fmla="*/ 7 h 28"/>
                <a:gd name="T22" fmla="*/ 7 w 29"/>
                <a:gd name="T23" fmla="*/ 7 h 28"/>
                <a:gd name="T24" fmla="*/ 7 w 29"/>
                <a:gd name="T25" fmla="*/ 7 h 28"/>
                <a:gd name="T26" fmla="*/ 7 w 29"/>
                <a:gd name="T27" fmla="*/ 7 h 28"/>
                <a:gd name="T28" fmla="*/ 7 w 29"/>
                <a:gd name="T29" fmla="*/ 7 h 28"/>
                <a:gd name="T30" fmla="*/ 7 w 29"/>
                <a:gd name="T31" fmla="*/ 7 h 28"/>
                <a:gd name="T32" fmla="*/ 7 w 29"/>
                <a:gd name="T33" fmla="*/ 7 h 28"/>
                <a:gd name="T34" fmla="*/ 7 w 29"/>
                <a:gd name="T35" fmla="*/ 7 h 28"/>
                <a:gd name="T36" fmla="*/ 7 w 29"/>
                <a:gd name="T37" fmla="*/ 7 h 28"/>
                <a:gd name="T38" fmla="*/ 7 w 29"/>
                <a:gd name="T39" fmla="*/ 7 h 28"/>
                <a:gd name="T40" fmla="*/ 7 w 29"/>
                <a:gd name="T41" fmla="*/ 7 h 28"/>
                <a:gd name="T42" fmla="*/ 7 w 29"/>
                <a:gd name="T43" fmla="*/ 7 h 28"/>
                <a:gd name="T44" fmla="*/ 7 w 29"/>
                <a:gd name="T45" fmla="*/ 6 h 28"/>
                <a:gd name="T46" fmla="*/ 7 w 29"/>
                <a:gd name="T47" fmla="*/ 4 h 28"/>
                <a:gd name="T48" fmla="*/ 7 w 29"/>
                <a:gd name="T49" fmla="*/ 2 h 28"/>
                <a:gd name="T50" fmla="*/ 7 w 29"/>
                <a:gd name="T51" fmla="*/ 1 h 28"/>
                <a:gd name="T52" fmla="*/ 7 w 29"/>
                <a:gd name="T53" fmla="*/ 0 h 28"/>
                <a:gd name="T54" fmla="*/ 7 w 29"/>
                <a:gd name="T55" fmla="*/ 0 h 28"/>
                <a:gd name="T56" fmla="*/ 7 w 29"/>
                <a:gd name="T57" fmla="*/ 0 h 28"/>
                <a:gd name="T58" fmla="*/ 5 w 29"/>
                <a:gd name="T59" fmla="*/ 1 h 28"/>
                <a:gd name="T60" fmla="*/ 3 w 29"/>
                <a:gd name="T61" fmla="*/ 2 h 28"/>
                <a:gd name="T62" fmla="*/ 2 w 29"/>
                <a:gd name="T63" fmla="*/ 4 h 28"/>
                <a:gd name="T64" fmla="*/ 1 w 29"/>
                <a:gd name="T65" fmla="*/ 5 h 28"/>
                <a:gd name="T66" fmla="*/ 0 w 29"/>
                <a:gd name="T67" fmla="*/ 7 h 28"/>
                <a:gd name="T68" fmla="*/ 0 w 29"/>
                <a:gd name="T69" fmla="*/ 7 h 2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"/>
                <a:gd name="T106" fmla="*/ 0 h 28"/>
                <a:gd name="T107" fmla="*/ 29 w 29"/>
                <a:gd name="T108" fmla="*/ 28 h 2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" h="28">
                  <a:moveTo>
                    <a:pt x="0" y="10"/>
                  </a:move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lnTo>
                    <a:pt x="3" y="15"/>
                  </a:lnTo>
                  <a:lnTo>
                    <a:pt x="6" y="17"/>
                  </a:lnTo>
                  <a:lnTo>
                    <a:pt x="9" y="19"/>
                  </a:lnTo>
                  <a:lnTo>
                    <a:pt x="14" y="22"/>
                  </a:lnTo>
                  <a:lnTo>
                    <a:pt x="18" y="25"/>
                  </a:lnTo>
                  <a:lnTo>
                    <a:pt x="20" y="26"/>
                  </a:lnTo>
                  <a:lnTo>
                    <a:pt x="22" y="27"/>
                  </a:lnTo>
                  <a:lnTo>
                    <a:pt x="25" y="28"/>
                  </a:lnTo>
                  <a:lnTo>
                    <a:pt x="27" y="27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0"/>
                  </a:lnTo>
                  <a:lnTo>
                    <a:pt x="29" y="17"/>
                  </a:lnTo>
                  <a:lnTo>
                    <a:pt x="28" y="14"/>
                  </a:lnTo>
                  <a:lnTo>
                    <a:pt x="27" y="11"/>
                  </a:lnTo>
                  <a:lnTo>
                    <a:pt x="26" y="8"/>
                  </a:lnTo>
                  <a:lnTo>
                    <a:pt x="24" y="6"/>
                  </a:lnTo>
                  <a:lnTo>
                    <a:pt x="21" y="4"/>
                  </a:lnTo>
                  <a:lnTo>
                    <a:pt x="18" y="2"/>
                  </a:lnTo>
                  <a:lnTo>
                    <a:pt x="15" y="1"/>
                  </a:lnTo>
                  <a:lnTo>
                    <a:pt x="11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10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" name="Freeform 94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2140" y="3797"/>
              <a:ext cx="50" cy="50"/>
            </a:xfrm>
            <a:custGeom>
              <a:avLst/>
              <a:gdLst>
                <a:gd name="T0" fmla="*/ 0 w 53"/>
                <a:gd name="T1" fmla="*/ 8 h 53"/>
                <a:gd name="T2" fmla="*/ 0 w 53"/>
                <a:gd name="T3" fmla="*/ 8 h 53"/>
                <a:gd name="T4" fmla="*/ 0 w 53"/>
                <a:gd name="T5" fmla="*/ 8 h 53"/>
                <a:gd name="T6" fmla="*/ 1 w 53"/>
                <a:gd name="T7" fmla="*/ 8 h 53"/>
                <a:gd name="T8" fmla="*/ 2 w 53"/>
                <a:gd name="T9" fmla="*/ 8 h 53"/>
                <a:gd name="T10" fmla="*/ 4 w 53"/>
                <a:gd name="T11" fmla="*/ 9 h 53"/>
                <a:gd name="T12" fmla="*/ 5 w 53"/>
                <a:gd name="T13" fmla="*/ 10 h 53"/>
                <a:gd name="T14" fmla="*/ 7 w 53"/>
                <a:gd name="T15" fmla="*/ 12 h 53"/>
                <a:gd name="T16" fmla="*/ 8 w 53"/>
                <a:gd name="T17" fmla="*/ 12 h 53"/>
                <a:gd name="T18" fmla="*/ 8 w 53"/>
                <a:gd name="T19" fmla="*/ 13 h 53"/>
                <a:gd name="T20" fmla="*/ 8 w 53"/>
                <a:gd name="T21" fmla="*/ 13 h 53"/>
                <a:gd name="T22" fmla="*/ 8 w 53"/>
                <a:gd name="T23" fmla="*/ 14 h 53"/>
                <a:gd name="T24" fmla="*/ 8 w 53"/>
                <a:gd name="T25" fmla="*/ 14 h 53"/>
                <a:gd name="T26" fmla="*/ 8 w 53"/>
                <a:gd name="T27" fmla="*/ 14 h 53"/>
                <a:gd name="T28" fmla="*/ 8 w 53"/>
                <a:gd name="T29" fmla="*/ 15 h 53"/>
                <a:gd name="T30" fmla="*/ 8 w 53"/>
                <a:gd name="T31" fmla="*/ 15 h 53"/>
                <a:gd name="T32" fmla="*/ 8 w 53"/>
                <a:gd name="T33" fmla="*/ 15 h 53"/>
                <a:gd name="T34" fmla="*/ 8 w 53"/>
                <a:gd name="T35" fmla="*/ 15 h 53"/>
                <a:gd name="T36" fmla="*/ 8 w 53"/>
                <a:gd name="T37" fmla="*/ 15 h 53"/>
                <a:gd name="T38" fmla="*/ 9 w 53"/>
                <a:gd name="T39" fmla="*/ 14 h 53"/>
                <a:gd name="T40" fmla="*/ 10 w 53"/>
                <a:gd name="T41" fmla="*/ 14 h 53"/>
                <a:gd name="T42" fmla="*/ 11 w 53"/>
                <a:gd name="T43" fmla="*/ 14 h 53"/>
                <a:gd name="T44" fmla="*/ 12 w 53"/>
                <a:gd name="T45" fmla="*/ 13 h 53"/>
                <a:gd name="T46" fmla="*/ 12 w 53"/>
                <a:gd name="T47" fmla="*/ 12 h 53"/>
                <a:gd name="T48" fmla="*/ 13 w 53"/>
                <a:gd name="T49" fmla="*/ 12 h 53"/>
                <a:gd name="T50" fmla="*/ 14 w 53"/>
                <a:gd name="T51" fmla="*/ 10 h 53"/>
                <a:gd name="T52" fmla="*/ 14 w 53"/>
                <a:gd name="T53" fmla="*/ 8 h 53"/>
                <a:gd name="T54" fmla="*/ 15 w 53"/>
                <a:gd name="T55" fmla="*/ 8 h 53"/>
                <a:gd name="T56" fmla="*/ 15 w 53"/>
                <a:gd name="T57" fmla="*/ 8 h 53"/>
                <a:gd name="T58" fmla="*/ 15 w 53"/>
                <a:gd name="T59" fmla="*/ 8 h 53"/>
                <a:gd name="T60" fmla="*/ 15 w 53"/>
                <a:gd name="T61" fmla="*/ 8 h 53"/>
                <a:gd name="T62" fmla="*/ 14 w 53"/>
                <a:gd name="T63" fmla="*/ 8 h 53"/>
                <a:gd name="T64" fmla="*/ 14 w 53"/>
                <a:gd name="T65" fmla="*/ 8 h 53"/>
                <a:gd name="T66" fmla="*/ 13 w 53"/>
                <a:gd name="T67" fmla="*/ 8 h 53"/>
                <a:gd name="T68" fmla="*/ 13 w 53"/>
                <a:gd name="T69" fmla="*/ 7 h 53"/>
                <a:gd name="T70" fmla="*/ 12 w 53"/>
                <a:gd name="T71" fmla="*/ 5 h 53"/>
                <a:gd name="T72" fmla="*/ 11 w 53"/>
                <a:gd name="T73" fmla="*/ 2 h 53"/>
                <a:gd name="T74" fmla="*/ 10 w 53"/>
                <a:gd name="T75" fmla="*/ 0 h 53"/>
                <a:gd name="T76" fmla="*/ 9 w 53"/>
                <a:gd name="T77" fmla="*/ 0 h 53"/>
                <a:gd name="T78" fmla="*/ 8 w 53"/>
                <a:gd name="T79" fmla="*/ 0 h 53"/>
                <a:gd name="T80" fmla="*/ 8 w 53"/>
                <a:gd name="T81" fmla="*/ 0 h 53"/>
                <a:gd name="T82" fmla="*/ 8 w 53"/>
                <a:gd name="T83" fmla="*/ 2 h 53"/>
                <a:gd name="T84" fmla="*/ 8 w 53"/>
                <a:gd name="T85" fmla="*/ 5 h 53"/>
                <a:gd name="T86" fmla="*/ 8 w 53"/>
                <a:gd name="T87" fmla="*/ 8 h 53"/>
                <a:gd name="T88" fmla="*/ 6 w 53"/>
                <a:gd name="T89" fmla="*/ 8 h 53"/>
                <a:gd name="T90" fmla="*/ 4 w 53"/>
                <a:gd name="T91" fmla="*/ 8 h 53"/>
                <a:gd name="T92" fmla="*/ 2 w 53"/>
                <a:gd name="T93" fmla="*/ 8 h 53"/>
                <a:gd name="T94" fmla="*/ 1 w 53"/>
                <a:gd name="T95" fmla="*/ 8 h 53"/>
                <a:gd name="T96" fmla="*/ 0 w 53"/>
                <a:gd name="T97" fmla="*/ 8 h 53"/>
                <a:gd name="T98" fmla="*/ 0 w 53"/>
                <a:gd name="T99" fmla="*/ 8 h 53"/>
                <a:gd name="T100" fmla="*/ 0 w 53"/>
                <a:gd name="T101" fmla="*/ 8 h 5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3"/>
                <a:gd name="T154" fmla="*/ 0 h 53"/>
                <a:gd name="T155" fmla="*/ 53 w 53"/>
                <a:gd name="T156" fmla="*/ 53 h 5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3" h="53">
                  <a:moveTo>
                    <a:pt x="0" y="25"/>
                  </a:moveTo>
                  <a:lnTo>
                    <a:pt x="0" y="28"/>
                  </a:lnTo>
                  <a:lnTo>
                    <a:pt x="0" y="31"/>
                  </a:lnTo>
                  <a:lnTo>
                    <a:pt x="1" y="34"/>
                  </a:lnTo>
                  <a:lnTo>
                    <a:pt x="2" y="37"/>
                  </a:lnTo>
                  <a:lnTo>
                    <a:pt x="4" y="39"/>
                  </a:lnTo>
                  <a:lnTo>
                    <a:pt x="5" y="41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7"/>
                  </a:lnTo>
                  <a:lnTo>
                    <a:pt x="14" y="49"/>
                  </a:lnTo>
                  <a:lnTo>
                    <a:pt x="17" y="50"/>
                  </a:lnTo>
                  <a:lnTo>
                    <a:pt x="20" y="51"/>
                  </a:lnTo>
                  <a:lnTo>
                    <a:pt x="22" y="52"/>
                  </a:lnTo>
                  <a:lnTo>
                    <a:pt x="25" y="53"/>
                  </a:lnTo>
                  <a:lnTo>
                    <a:pt x="28" y="53"/>
                  </a:lnTo>
                  <a:lnTo>
                    <a:pt x="31" y="53"/>
                  </a:lnTo>
                  <a:lnTo>
                    <a:pt x="34" y="53"/>
                  </a:lnTo>
                  <a:lnTo>
                    <a:pt x="36" y="53"/>
                  </a:lnTo>
                  <a:lnTo>
                    <a:pt x="39" y="52"/>
                  </a:lnTo>
                  <a:lnTo>
                    <a:pt x="40" y="51"/>
                  </a:lnTo>
                  <a:lnTo>
                    <a:pt x="43" y="50"/>
                  </a:lnTo>
                  <a:lnTo>
                    <a:pt x="44" y="49"/>
                  </a:lnTo>
                  <a:lnTo>
                    <a:pt x="46" y="46"/>
                  </a:lnTo>
                  <a:lnTo>
                    <a:pt x="47" y="44"/>
                  </a:lnTo>
                  <a:lnTo>
                    <a:pt x="50" y="40"/>
                  </a:lnTo>
                  <a:lnTo>
                    <a:pt x="52" y="35"/>
                  </a:lnTo>
                  <a:lnTo>
                    <a:pt x="53" y="30"/>
                  </a:lnTo>
                  <a:lnTo>
                    <a:pt x="53" y="25"/>
                  </a:lnTo>
                  <a:lnTo>
                    <a:pt x="53" y="22"/>
                  </a:lnTo>
                  <a:lnTo>
                    <a:pt x="53" y="18"/>
                  </a:lnTo>
                  <a:lnTo>
                    <a:pt x="52" y="15"/>
                  </a:lnTo>
                  <a:lnTo>
                    <a:pt x="51" y="12"/>
                  </a:lnTo>
                  <a:lnTo>
                    <a:pt x="49" y="10"/>
                  </a:lnTo>
                  <a:lnTo>
                    <a:pt x="48" y="7"/>
                  </a:lnTo>
                  <a:lnTo>
                    <a:pt x="46" y="5"/>
                  </a:lnTo>
                  <a:lnTo>
                    <a:pt x="43" y="2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7" y="2"/>
                  </a:lnTo>
                  <a:lnTo>
                    <a:pt x="21" y="5"/>
                  </a:lnTo>
                  <a:lnTo>
                    <a:pt x="13" y="9"/>
                  </a:lnTo>
                  <a:lnTo>
                    <a:pt x="6" y="13"/>
                  </a:lnTo>
                  <a:lnTo>
                    <a:pt x="4" y="15"/>
                  </a:lnTo>
                  <a:lnTo>
                    <a:pt x="2" y="18"/>
                  </a:lnTo>
                  <a:lnTo>
                    <a:pt x="1" y="20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" name="Freeform 95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2362" y="3692"/>
              <a:ext cx="44" cy="40"/>
            </a:xfrm>
            <a:custGeom>
              <a:avLst/>
              <a:gdLst>
                <a:gd name="T0" fmla="*/ 0 w 47"/>
                <a:gd name="T1" fmla="*/ 7 h 43"/>
                <a:gd name="T2" fmla="*/ 0 w 47"/>
                <a:gd name="T3" fmla="*/ 7 h 43"/>
                <a:gd name="T4" fmla="*/ 1 w 47"/>
                <a:gd name="T5" fmla="*/ 7 h 43"/>
                <a:gd name="T6" fmla="*/ 2 w 47"/>
                <a:gd name="T7" fmla="*/ 7 h 43"/>
                <a:gd name="T8" fmla="*/ 3 w 47"/>
                <a:gd name="T9" fmla="*/ 7 h 43"/>
                <a:gd name="T10" fmla="*/ 5 w 47"/>
                <a:gd name="T11" fmla="*/ 7 h 43"/>
                <a:gd name="T12" fmla="*/ 6 w 47"/>
                <a:gd name="T13" fmla="*/ 7 h 43"/>
                <a:gd name="T14" fmla="*/ 7 w 47"/>
                <a:gd name="T15" fmla="*/ 7 h 43"/>
                <a:gd name="T16" fmla="*/ 7 w 47"/>
                <a:gd name="T17" fmla="*/ 7 h 43"/>
                <a:gd name="T18" fmla="*/ 7 w 47"/>
                <a:gd name="T19" fmla="*/ 7 h 43"/>
                <a:gd name="T20" fmla="*/ 7 w 47"/>
                <a:gd name="T21" fmla="*/ 7 h 43"/>
                <a:gd name="T22" fmla="*/ 7 w 47"/>
                <a:gd name="T23" fmla="*/ 7 h 43"/>
                <a:gd name="T24" fmla="*/ 7 w 47"/>
                <a:gd name="T25" fmla="*/ 7 h 43"/>
                <a:gd name="T26" fmla="*/ 7 w 47"/>
                <a:gd name="T27" fmla="*/ 7 h 43"/>
                <a:gd name="T28" fmla="*/ 7 w 47"/>
                <a:gd name="T29" fmla="*/ 7 h 43"/>
                <a:gd name="T30" fmla="*/ 7 w 47"/>
                <a:gd name="T31" fmla="*/ 7 h 43"/>
                <a:gd name="T32" fmla="*/ 7 w 47"/>
                <a:gd name="T33" fmla="*/ 7 h 43"/>
                <a:gd name="T34" fmla="*/ 7 w 47"/>
                <a:gd name="T35" fmla="*/ 7 h 43"/>
                <a:gd name="T36" fmla="*/ 8 w 47"/>
                <a:gd name="T37" fmla="*/ 7 h 43"/>
                <a:gd name="T38" fmla="*/ 9 w 47"/>
                <a:gd name="T39" fmla="*/ 7 h 43"/>
                <a:gd name="T40" fmla="*/ 10 w 47"/>
                <a:gd name="T41" fmla="*/ 7 h 43"/>
                <a:gd name="T42" fmla="*/ 10 w 47"/>
                <a:gd name="T43" fmla="*/ 7 h 43"/>
                <a:gd name="T44" fmla="*/ 10 w 47"/>
                <a:gd name="T45" fmla="*/ 7 h 43"/>
                <a:gd name="T46" fmla="*/ 10 w 47"/>
                <a:gd name="T47" fmla="*/ 7 h 43"/>
                <a:gd name="T48" fmla="*/ 10 w 47"/>
                <a:gd name="T49" fmla="*/ 7 h 43"/>
                <a:gd name="T50" fmla="*/ 10 w 47"/>
                <a:gd name="T51" fmla="*/ 6 h 43"/>
                <a:gd name="T52" fmla="*/ 10 w 47"/>
                <a:gd name="T53" fmla="*/ 3 h 43"/>
                <a:gd name="T54" fmla="*/ 10 w 47"/>
                <a:gd name="T55" fmla="*/ 2 h 43"/>
                <a:gd name="T56" fmla="*/ 10 w 47"/>
                <a:gd name="T57" fmla="*/ 1 h 43"/>
                <a:gd name="T58" fmla="*/ 10 w 47"/>
                <a:gd name="T59" fmla="*/ 1 h 43"/>
                <a:gd name="T60" fmla="*/ 9 w 47"/>
                <a:gd name="T61" fmla="*/ 0 h 43"/>
                <a:gd name="T62" fmla="*/ 8 w 47"/>
                <a:gd name="T63" fmla="*/ 1 h 43"/>
                <a:gd name="T64" fmla="*/ 8 w 47"/>
                <a:gd name="T65" fmla="*/ 2 h 43"/>
                <a:gd name="T66" fmla="*/ 7 w 47"/>
                <a:gd name="T67" fmla="*/ 4 h 43"/>
                <a:gd name="T68" fmla="*/ 7 w 47"/>
                <a:gd name="T69" fmla="*/ 5 h 43"/>
                <a:gd name="T70" fmla="*/ 7 w 47"/>
                <a:gd name="T71" fmla="*/ 7 h 43"/>
                <a:gd name="T72" fmla="*/ 7 w 47"/>
                <a:gd name="T73" fmla="*/ 7 h 43"/>
                <a:gd name="T74" fmla="*/ 7 w 47"/>
                <a:gd name="T75" fmla="*/ 7 h 43"/>
                <a:gd name="T76" fmla="*/ 7 w 47"/>
                <a:gd name="T77" fmla="*/ 7 h 43"/>
                <a:gd name="T78" fmla="*/ 7 w 47"/>
                <a:gd name="T79" fmla="*/ 7 h 43"/>
                <a:gd name="T80" fmla="*/ 7 w 47"/>
                <a:gd name="T81" fmla="*/ 7 h 43"/>
                <a:gd name="T82" fmla="*/ 6 w 47"/>
                <a:gd name="T83" fmla="*/ 7 h 43"/>
                <a:gd name="T84" fmla="*/ 3 w 47"/>
                <a:gd name="T85" fmla="*/ 7 h 43"/>
                <a:gd name="T86" fmla="*/ 2 w 47"/>
                <a:gd name="T87" fmla="*/ 7 h 43"/>
                <a:gd name="T88" fmla="*/ 1 w 47"/>
                <a:gd name="T89" fmla="*/ 7 h 43"/>
                <a:gd name="T90" fmla="*/ 0 w 47"/>
                <a:gd name="T91" fmla="*/ 7 h 43"/>
                <a:gd name="T92" fmla="*/ 0 w 47"/>
                <a:gd name="T93" fmla="*/ 7 h 4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7"/>
                <a:gd name="T142" fmla="*/ 0 h 43"/>
                <a:gd name="T143" fmla="*/ 47 w 47"/>
                <a:gd name="T144" fmla="*/ 43 h 4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7" h="43">
                  <a:moveTo>
                    <a:pt x="0" y="21"/>
                  </a:moveTo>
                  <a:lnTo>
                    <a:pt x="0" y="29"/>
                  </a:lnTo>
                  <a:lnTo>
                    <a:pt x="1" y="36"/>
                  </a:lnTo>
                  <a:lnTo>
                    <a:pt x="2" y="39"/>
                  </a:lnTo>
                  <a:lnTo>
                    <a:pt x="3" y="41"/>
                  </a:lnTo>
                  <a:lnTo>
                    <a:pt x="5" y="42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4" y="42"/>
                  </a:lnTo>
                  <a:lnTo>
                    <a:pt x="15" y="41"/>
                  </a:lnTo>
                  <a:lnTo>
                    <a:pt x="17" y="39"/>
                  </a:lnTo>
                  <a:lnTo>
                    <a:pt x="21" y="36"/>
                  </a:lnTo>
                  <a:lnTo>
                    <a:pt x="25" y="33"/>
                  </a:lnTo>
                  <a:lnTo>
                    <a:pt x="30" y="31"/>
                  </a:lnTo>
                  <a:lnTo>
                    <a:pt x="33" y="29"/>
                  </a:lnTo>
                  <a:lnTo>
                    <a:pt x="37" y="27"/>
                  </a:lnTo>
                  <a:lnTo>
                    <a:pt x="41" y="24"/>
                  </a:lnTo>
                  <a:lnTo>
                    <a:pt x="43" y="21"/>
                  </a:lnTo>
                  <a:lnTo>
                    <a:pt x="46" y="17"/>
                  </a:lnTo>
                  <a:lnTo>
                    <a:pt x="46" y="15"/>
                  </a:lnTo>
                  <a:lnTo>
                    <a:pt x="47" y="13"/>
                  </a:lnTo>
                  <a:lnTo>
                    <a:pt x="47" y="11"/>
                  </a:lnTo>
                  <a:lnTo>
                    <a:pt x="47" y="9"/>
                  </a:lnTo>
                  <a:lnTo>
                    <a:pt x="47" y="6"/>
                  </a:lnTo>
                  <a:lnTo>
                    <a:pt x="47" y="3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4" y="0"/>
                  </a:lnTo>
                  <a:lnTo>
                    <a:pt x="41" y="1"/>
                  </a:lnTo>
                  <a:lnTo>
                    <a:pt x="39" y="2"/>
                  </a:lnTo>
                  <a:lnTo>
                    <a:pt x="36" y="4"/>
                  </a:lnTo>
                  <a:lnTo>
                    <a:pt x="35" y="5"/>
                  </a:lnTo>
                  <a:lnTo>
                    <a:pt x="33" y="7"/>
                  </a:lnTo>
                  <a:lnTo>
                    <a:pt x="31" y="8"/>
                  </a:lnTo>
                  <a:lnTo>
                    <a:pt x="29" y="10"/>
                  </a:lnTo>
                  <a:lnTo>
                    <a:pt x="26" y="11"/>
                  </a:lnTo>
                  <a:lnTo>
                    <a:pt x="18" y="13"/>
                  </a:lnTo>
                  <a:lnTo>
                    <a:pt x="9" y="13"/>
                  </a:lnTo>
                  <a:lnTo>
                    <a:pt x="6" y="14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1" y="18"/>
                  </a:lnTo>
                  <a:lnTo>
                    <a:pt x="0" y="20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3" name="Freeform 96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2285" y="3750"/>
              <a:ext cx="69" cy="75"/>
            </a:xfrm>
            <a:custGeom>
              <a:avLst/>
              <a:gdLst>
                <a:gd name="T0" fmla="*/ 4 w 74"/>
                <a:gd name="T1" fmla="*/ 19 h 80"/>
                <a:gd name="T2" fmla="*/ 7 w 74"/>
                <a:gd name="T3" fmla="*/ 19 h 80"/>
                <a:gd name="T4" fmla="*/ 7 w 74"/>
                <a:gd name="T5" fmla="*/ 19 h 80"/>
                <a:gd name="T6" fmla="*/ 7 w 74"/>
                <a:gd name="T7" fmla="*/ 19 h 80"/>
                <a:gd name="T8" fmla="*/ 7 w 74"/>
                <a:gd name="T9" fmla="*/ 19 h 80"/>
                <a:gd name="T10" fmla="*/ 7 w 74"/>
                <a:gd name="T11" fmla="*/ 19 h 80"/>
                <a:gd name="T12" fmla="*/ 8 w 74"/>
                <a:gd name="T13" fmla="*/ 19 h 80"/>
                <a:gd name="T14" fmla="*/ 9 w 74"/>
                <a:gd name="T15" fmla="*/ 18 h 80"/>
                <a:gd name="T16" fmla="*/ 10 w 74"/>
                <a:gd name="T17" fmla="*/ 18 h 80"/>
                <a:gd name="T18" fmla="*/ 11 w 74"/>
                <a:gd name="T19" fmla="*/ 17 h 80"/>
                <a:gd name="T20" fmla="*/ 12 w 74"/>
                <a:gd name="T21" fmla="*/ 15 h 80"/>
                <a:gd name="T22" fmla="*/ 13 w 74"/>
                <a:gd name="T23" fmla="*/ 14 h 80"/>
                <a:gd name="T24" fmla="*/ 13 w 74"/>
                <a:gd name="T25" fmla="*/ 13 h 80"/>
                <a:gd name="T26" fmla="*/ 14 w 74"/>
                <a:gd name="T27" fmla="*/ 11 h 80"/>
                <a:gd name="T28" fmla="*/ 14 w 74"/>
                <a:gd name="T29" fmla="*/ 9 h 80"/>
                <a:gd name="T30" fmla="*/ 14 w 74"/>
                <a:gd name="T31" fmla="*/ 8 h 80"/>
                <a:gd name="T32" fmla="*/ 15 w 74"/>
                <a:gd name="T33" fmla="*/ 8 h 80"/>
                <a:gd name="T34" fmla="*/ 15 w 74"/>
                <a:gd name="T35" fmla="*/ 8 h 80"/>
                <a:gd name="T36" fmla="*/ 15 w 74"/>
                <a:gd name="T37" fmla="*/ 8 h 80"/>
                <a:gd name="T38" fmla="*/ 16 w 74"/>
                <a:gd name="T39" fmla="*/ 8 h 80"/>
                <a:gd name="T40" fmla="*/ 16 w 74"/>
                <a:gd name="T41" fmla="*/ 8 h 80"/>
                <a:gd name="T42" fmla="*/ 16 w 74"/>
                <a:gd name="T43" fmla="*/ 8 h 80"/>
                <a:gd name="T44" fmla="*/ 16 w 74"/>
                <a:gd name="T45" fmla="*/ 8 h 80"/>
                <a:gd name="T46" fmla="*/ 16 w 74"/>
                <a:gd name="T47" fmla="*/ 7 h 80"/>
                <a:gd name="T48" fmla="*/ 15 w 74"/>
                <a:gd name="T49" fmla="*/ 5 h 80"/>
                <a:gd name="T50" fmla="*/ 15 w 74"/>
                <a:gd name="T51" fmla="*/ 3 h 80"/>
                <a:gd name="T52" fmla="*/ 14 w 74"/>
                <a:gd name="T53" fmla="*/ 2 h 80"/>
                <a:gd name="T54" fmla="*/ 14 w 74"/>
                <a:gd name="T55" fmla="*/ 1 h 80"/>
                <a:gd name="T56" fmla="*/ 13 w 74"/>
                <a:gd name="T57" fmla="*/ 0 h 80"/>
                <a:gd name="T58" fmla="*/ 13 w 74"/>
                <a:gd name="T59" fmla="*/ 1 h 80"/>
                <a:gd name="T60" fmla="*/ 11 w 74"/>
                <a:gd name="T61" fmla="*/ 3 h 80"/>
                <a:gd name="T62" fmla="*/ 10 w 74"/>
                <a:gd name="T63" fmla="*/ 6 h 80"/>
                <a:gd name="T64" fmla="*/ 9 w 74"/>
                <a:gd name="T65" fmla="*/ 8 h 80"/>
                <a:gd name="T66" fmla="*/ 8 w 74"/>
                <a:gd name="T67" fmla="*/ 8 h 80"/>
                <a:gd name="T68" fmla="*/ 8 w 74"/>
                <a:gd name="T69" fmla="*/ 8 h 80"/>
                <a:gd name="T70" fmla="*/ 7 w 74"/>
                <a:gd name="T71" fmla="*/ 8 h 80"/>
                <a:gd name="T72" fmla="*/ 7 w 74"/>
                <a:gd name="T73" fmla="*/ 8 h 80"/>
                <a:gd name="T74" fmla="*/ 7 w 74"/>
                <a:gd name="T75" fmla="*/ 8 h 80"/>
                <a:gd name="T76" fmla="*/ 7 w 74"/>
                <a:gd name="T77" fmla="*/ 8 h 80"/>
                <a:gd name="T78" fmla="*/ 7 w 74"/>
                <a:gd name="T79" fmla="*/ 8 h 80"/>
                <a:gd name="T80" fmla="*/ 7 w 74"/>
                <a:gd name="T81" fmla="*/ 9 h 80"/>
                <a:gd name="T82" fmla="*/ 7 w 74"/>
                <a:gd name="T83" fmla="*/ 9 h 80"/>
                <a:gd name="T84" fmla="*/ 7 w 74"/>
                <a:gd name="T85" fmla="*/ 10 h 80"/>
                <a:gd name="T86" fmla="*/ 7 w 74"/>
                <a:gd name="T87" fmla="*/ 11 h 80"/>
                <a:gd name="T88" fmla="*/ 7 w 74"/>
                <a:gd name="T89" fmla="*/ 12 h 80"/>
                <a:gd name="T90" fmla="*/ 7 w 74"/>
                <a:gd name="T91" fmla="*/ 14 h 80"/>
                <a:gd name="T92" fmla="*/ 7 w 74"/>
                <a:gd name="T93" fmla="*/ 15 h 80"/>
                <a:gd name="T94" fmla="*/ 7 w 74"/>
                <a:gd name="T95" fmla="*/ 17 h 80"/>
                <a:gd name="T96" fmla="*/ 5 w 74"/>
                <a:gd name="T97" fmla="*/ 17 h 80"/>
                <a:gd name="T98" fmla="*/ 3 w 74"/>
                <a:gd name="T99" fmla="*/ 18 h 80"/>
                <a:gd name="T100" fmla="*/ 2 w 74"/>
                <a:gd name="T101" fmla="*/ 18 h 80"/>
                <a:gd name="T102" fmla="*/ 0 w 74"/>
                <a:gd name="T103" fmla="*/ 19 h 80"/>
                <a:gd name="T104" fmla="*/ 0 w 74"/>
                <a:gd name="T105" fmla="*/ 19 h 80"/>
                <a:gd name="T106" fmla="*/ 0 w 74"/>
                <a:gd name="T107" fmla="*/ 19 h 80"/>
                <a:gd name="T108" fmla="*/ 0 w 74"/>
                <a:gd name="T109" fmla="*/ 19 h 80"/>
                <a:gd name="T110" fmla="*/ 0 w 74"/>
                <a:gd name="T111" fmla="*/ 19 h 80"/>
                <a:gd name="T112" fmla="*/ 2 w 74"/>
                <a:gd name="T113" fmla="*/ 19 h 80"/>
                <a:gd name="T114" fmla="*/ 4 w 74"/>
                <a:gd name="T115" fmla="*/ 19 h 8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4"/>
                <a:gd name="T175" fmla="*/ 0 h 80"/>
                <a:gd name="T176" fmla="*/ 74 w 74"/>
                <a:gd name="T177" fmla="*/ 80 h 8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4" h="80">
                  <a:moveTo>
                    <a:pt x="4" y="79"/>
                  </a:moveTo>
                  <a:lnTo>
                    <a:pt x="16" y="79"/>
                  </a:lnTo>
                  <a:lnTo>
                    <a:pt x="25" y="80"/>
                  </a:lnTo>
                  <a:lnTo>
                    <a:pt x="32" y="80"/>
                  </a:lnTo>
                  <a:lnTo>
                    <a:pt x="35" y="79"/>
                  </a:lnTo>
                  <a:lnTo>
                    <a:pt x="39" y="78"/>
                  </a:lnTo>
                  <a:lnTo>
                    <a:pt x="42" y="77"/>
                  </a:lnTo>
                  <a:lnTo>
                    <a:pt x="45" y="74"/>
                  </a:lnTo>
                  <a:lnTo>
                    <a:pt x="50" y="71"/>
                  </a:lnTo>
                  <a:lnTo>
                    <a:pt x="54" y="67"/>
                  </a:lnTo>
                  <a:lnTo>
                    <a:pt x="57" y="62"/>
                  </a:lnTo>
                  <a:lnTo>
                    <a:pt x="59" y="58"/>
                  </a:lnTo>
                  <a:lnTo>
                    <a:pt x="62" y="53"/>
                  </a:lnTo>
                  <a:lnTo>
                    <a:pt x="63" y="47"/>
                  </a:lnTo>
                  <a:lnTo>
                    <a:pt x="65" y="42"/>
                  </a:lnTo>
                  <a:lnTo>
                    <a:pt x="66" y="36"/>
                  </a:lnTo>
                  <a:lnTo>
                    <a:pt x="69" y="30"/>
                  </a:lnTo>
                  <a:lnTo>
                    <a:pt x="71" y="24"/>
                  </a:lnTo>
                  <a:lnTo>
                    <a:pt x="72" y="22"/>
                  </a:lnTo>
                  <a:lnTo>
                    <a:pt x="74" y="19"/>
                  </a:lnTo>
                  <a:lnTo>
                    <a:pt x="74" y="16"/>
                  </a:lnTo>
                  <a:lnTo>
                    <a:pt x="74" y="13"/>
                  </a:lnTo>
                  <a:lnTo>
                    <a:pt x="74" y="10"/>
                  </a:lnTo>
                  <a:lnTo>
                    <a:pt x="73" y="7"/>
                  </a:lnTo>
                  <a:lnTo>
                    <a:pt x="71" y="5"/>
                  </a:lnTo>
                  <a:lnTo>
                    <a:pt x="69" y="3"/>
                  </a:lnTo>
                  <a:lnTo>
                    <a:pt x="66" y="2"/>
                  </a:lnTo>
                  <a:lnTo>
                    <a:pt x="64" y="1"/>
                  </a:lnTo>
                  <a:lnTo>
                    <a:pt x="62" y="0"/>
                  </a:lnTo>
                  <a:lnTo>
                    <a:pt x="59" y="1"/>
                  </a:lnTo>
                  <a:lnTo>
                    <a:pt x="54" y="3"/>
                  </a:lnTo>
                  <a:lnTo>
                    <a:pt x="50" y="6"/>
                  </a:lnTo>
                  <a:lnTo>
                    <a:pt x="47" y="9"/>
                  </a:lnTo>
                  <a:lnTo>
                    <a:pt x="44" y="12"/>
                  </a:lnTo>
                  <a:lnTo>
                    <a:pt x="42" y="16"/>
                  </a:lnTo>
                  <a:lnTo>
                    <a:pt x="40" y="21"/>
                  </a:lnTo>
                  <a:lnTo>
                    <a:pt x="39" y="25"/>
                  </a:lnTo>
                  <a:lnTo>
                    <a:pt x="37" y="30"/>
                  </a:lnTo>
                  <a:lnTo>
                    <a:pt x="37" y="34"/>
                  </a:lnTo>
                  <a:lnTo>
                    <a:pt x="37" y="38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5" y="44"/>
                  </a:lnTo>
                  <a:lnTo>
                    <a:pt x="34" y="46"/>
                  </a:lnTo>
                  <a:lnTo>
                    <a:pt x="28" y="51"/>
                  </a:lnTo>
                  <a:lnTo>
                    <a:pt x="22" y="56"/>
                  </a:lnTo>
                  <a:lnTo>
                    <a:pt x="15" y="62"/>
                  </a:lnTo>
                  <a:lnTo>
                    <a:pt x="8" y="68"/>
                  </a:lnTo>
                  <a:lnTo>
                    <a:pt x="5" y="70"/>
                  </a:lnTo>
                  <a:lnTo>
                    <a:pt x="3" y="72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7"/>
                  </a:lnTo>
                  <a:lnTo>
                    <a:pt x="0" y="78"/>
                  </a:lnTo>
                  <a:lnTo>
                    <a:pt x="2" y="79"/>
                  </a:lnTo>
                  <a:lnTo>
                    <a:pt x="4" y="79"/>
                  </a:lnTo>
                </a:path>
              </a:pathLst>
            </a:custGeom>
            <a:solidFill>
              <a:srgbClr val="C0C0C0"/>
            </a:solidFill>
            <a:ln w="14288" cap="rnd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30" name="Oval 104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8721725" y="3335338"/>
            <a:ext cx="61913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1" name="Oval 110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6037263" y="2554288"/>
            <a:ext cx="60325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2" name="Oval 111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6557963" y="22145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3" name="Oval 112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6815138" y="1992313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4" name="Oval 113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6062663" y="33004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5" name="Oval 114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auto">
          <a:xfrm>
            <a:off x="5070475" y="60467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6" name="Oval 115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>
            <a:off x="4967288" y="58626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7" name="Oval 116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auto">
          <a:xfrm>
            <a:off x="2868165" y="63658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8" name="Oval 117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4489450" y="5395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39" name="Oval 118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>
            <a:off x="4479925" y="53101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0" name="Oval 119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auto">
          <a:xfrm>
            <a:off x="4684713" y="5064125"/>
            <a:ext cx="61912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1" name="Oval 120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auto">
          <a:xfrm>
            <a:off x="4740275" y="48815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2" name="Oval 121"/>
          <p:cNvSpPr>
            <a:spLocks noChangeAspect="1" noChangeArrowheads="1"/>
          </p:cNvSpPr>
          <p:nvPr>
            <p:custDataLst>
              <p:tags r:id="rId14"/>
            </p:custDataLst>
          </p:nvPr>
        </p:nvSpPr>
        <p:spPr bwMode="auto">
          <a:xfrm>
            <a:off x="4953000" y="4633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3" name="Oval 123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auto">
          <a:xfrm>
            <a:off x="5500688" y="49720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4" name="Oval 124"/>
          <p:cNvSpPr>
            <a:spLocks noChangeAspect="1" noChangeArrowheads="1"/>
          </p:cNvSpPr>
          <p:nvPr>
            <p:custDataLst>
              <p:tags r:id="rId16"/>
            </p:custDataLst>
          </p:nvPr>
        </p:nvSpPr>
        <p:spPr bwMode="auto">
          <a:xfrm>
            <a:off x="5681663" y="4829175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5" name="Oval 125"/>
          <p:cNvSpPr>
            <a:spLocks noChangeAspect="1" noChangeArrowheads="1"/>
          </p:cNvSpPr>
          <p:nvPr>
            <p:custDataLst>
              <p:tags r:id="rId17"/>
            </p:custDataLst>
          </p:nvPr>
        </p:nvSpPr>
        <p:spPr bwMode="auto">
          <a:xfrm>
            <a:off x="5756275" y="48561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6" name="Oval 126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5986463" y="49180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7" name="Oval 127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5903913" y="5089525"/>
            <a:ext cx="61912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8" name="Oval 128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5813425" y="50609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49" name="Oval 129"/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5595938" y="5407025"/>
            <a:ext cx="61912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0" name="Oval 130"/>
          <p:cNvSpPr>
            <a:spLocks noChangeAspect="1" noChangeArrowheads="1"/>
          </p:cNvSpPr>
          <p:nvPr>
            <p:custDataLst>
              <p:tags r:id="rId22"/>
            </p:custDataLst>
          </p:nvPr>
        </p:nvSpPr>
        <p:spPr bwMode="auto">
          <a:xfrm>
            <a:off x="5519738" y="54673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1" name="Oval 131"/>
          <p:cNvSpPr>
            <a:spLocks noChangeAspect="1" noChangeArrowheads="1"/>
          </p:cNvSpPr>
          <p:nvPr>
            <p:custDataLst>
              <p:tags r:id="rId23"/>
            </p:custDataLst>
          </p:nvPr>
        </p:nvSpPr>
        <p:spPr bwMode="auto">
          <a:xfrm>
            <a:off x="5434013" y="54149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3" name="Oval 133"/>
          <p:cNvSpPr>
            <a:spLocks noChangeAspect="1" noChangeArrowheads="1"/>
          </p:cNvSpPr>
          <p:nvPr>
            <p:custDataLst>
              <p:tags r:id="rId24"/>
            </p:custDataLst>
          </p:nvPr>
        </p:nvSpPr>
        <p:spPr bwMode="auto">
          <a:xfrm>
            <a:off x="5551488" y="53292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4" name="Oval 134"/>
          <p:cNvSpPr>
            <a:spLocks noChangeAspect="1" noChangeArrowheads="1"/>
          </p:cNvSpPr>
          <p:nvPr>
            <p:custDataLst>
              <p:tags r:id="rId25"/>
            </p:custDataLst>
          </p:nvPr>
        </p:nvSpPr>
        <p:spPr bwMode="auto">
          <a:xfrm>
            <a:off x="5969000" y="57372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5" name="Oval 135"/>
          <p:cNvSpPr>
            <a:spLocks noChangeAspect="1" noChangeArrowheads="1"/>
          </p:cNvSpPr>
          <p:nvPr>
            <p:custDataLst>
              <p:tags r:id="rId26"/>
            </p:custDataLst>
          </p:nvPr>
        </p:nvSpPr>
        <p:spPr bwMode="auto">
          <a:xfrm>
            <a:off x="6521450" y="5395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6" name="Oval 136"/>
          <p:cNvSpPr>
            <a:spLocks noChangeAspect="1" noChangeArrowheads="1"/>
          </p:cNvSpPr>
          <p:nvPr>
            <p:custDataLst>
              <p:tags r:id="rId27"/>
            </p:custDataLst>
          </p:nvPr>
        </p:nvSpPr>
        <p:spPr bwMode="auto">
          <a:xfrm>
            <a:off x="7793038" y="5768975"/>
            <a:ext cx="60325" cy="6508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7" name="Oval 137"/>
          <p:cNvSpPr>
            <a:spLocks noChangeAspect="1" noChangeArrowheads="1"/>
          </p:cNvSpPr>
          <p:nvPr>
            <p:custDataLst>
              <p:tags r:id="rId28"/>
            </p:custDataLst>
          </p:nvPr>
        </p:nvSpPr>
        <p:spPr bwMode="auto">
          <a:xfrm>
            <a:off x="7729538" y="6048375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8" name="Oval 138"/>
          <p:cNvSpPr>
            <a:spLocks noChangeAspect="1" noChangeArrowheads="1"/>
          </p:cNvSpPr>
          <p:nvPr>
            <p:custDataLst>
              <p:tags r:id="rId29"/>
            </p:custDataLst>
          </p:nvPr>
        </p:nvSpPr>
        <p:spPr bwMode="auto">
          <a:xfrm>
            <a:off x="7519988" y="6511925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9" name="Oval 139"/>
          <p:cNvSpPr>
            <a:spLocks noChangeAspect="1" noChangeArrowheads="1"/>
          </p:cNvSpPr>
          <p:nvPr>
            <p:custDataLst>
              <p:tags r:id="rId30"/>
            </p:custDataLst>
          </p:nvPr>
        </p:nvSpPr>
        <p:spPr bwMode="auto">
          <a:xfrm>
            <a:off x="8497888" y="6399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0" name="Oval 141"/>
          <p:cNvSpPr>
            <a:spLocks noChangeAspect="1" noChangeArrowheads="1"/>
          </p:cNvSpPr>
          <p:nvPr>
            <p:custDataLst>
              <p:tags r:id="rId31"/>
            </p:custDataLst>
          </p:nvPr>
        </p:nvSpPr>
        <p:spPr bwMode="auto">
          <a:xfrm>
            <a:off x="8794750" y="6557963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1" name="Oval 142"/>
          <p:cNvSpPr>
            <a:spLocks noChangeAspect="1" noChangeArrowheads="1"/>
          </p:cNvSpPr>
          <p:nvPr>
            <p:custDataLst>
              <p:tags r:id="rId32"/>
            </p:custDataLst>
          </p:nvPr>
        </p:nvSpPr>
        <p:spPr bwMode="auto">
          <a:xfrm>
            <a:off x="8791575" y="66182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2" name="Oval 143"/>
          <p:cNvSpPr>
            <a:spLocks noChangeAspect="1" noChangeArrowheads="1"/>
          </p:cNvSpPr>
          <p:nvPr>
            <p:custDataLst>
              <p:tags r:id="rId33"/>
            </p:custDataLst>
          </p:nvPr>
        </p:nvSpPr>
        <p:spPr bwMode="auto">
          <a:xfrm>
            <a:off x="8878888" y="64420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3" name="Oval 144"/>
          <p:cNvSpPr>
            <a:spLocks noChangeAspect="1" noChangeArrowheads="1"/>
          </p:cNvSpPr>
          <p:nvPr>
            <p:custDataLst>
              <p:tags r:id="rId34"/>
            </p:custDataLst>
          </p:nvPr>
        </p:nvSpPr>
        <p:spPr bwMode="auto">
          <a:xfrm>
            <a:off x="9117013" y="62484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4" name="Oval 145"/>
          <p:cNvSpPr>
            <a:spLocks noChangeAspect="1" noChangeArrowheads="1"/>
          </p:cNvSpPr>
          <p:nvPr>
            <p:custDataLst>
              <p:tags r:id="rId35"/>
            </p:custDataLst>
          </p:nvPr>
        </p:nvSpPr>
        <p:spPr bwMode="auto">
          <a:xfrm>
            <a:off x="9110663" y="58054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5" name="Oval 146"/>
          <p:cNvSpPr>
            <a:spLocks noChangeAspect="1" noChangeArrowheads="1"/>
          </p:cNvSpPr>
          <p:nvPr>
            <p:custDataLst>
              <p:tags r:id="rId36"/>
            </p:custDataLst>
          </p:nvPr>
        </p:nvSpPr>
        <p:spPr bwMode="auto">
          <a:xfrm>
            <a:off x="8797925" y="58689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6" name="Oval 147"/>
          <p:cNvSpPr>
            <a:spLocks noChangeAspect="1" noChangeArrowheads="1"/>
          </p:cNvSpPr>
          <p:nvPr>
            <p:custDataLst>
              <p:tags r:id="rId37"/>
            </p:custDataLst>
          </p:nvPr>
        </p:nvSpPr>
        <p:spPr bwMode="auto">
          <a:xfrm>
            <a:off x="9172575" y="58388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7" name="Oval 148"/>
          <p:cNvSpPr>
            <a:spLocks noChangeAspect="1" noChangeArrowheads="1"/>
          </p:cNvSpPr>
          <p:nvPr>
            <p:custDataLst>
              <p:tags r:id="rId38"/>
            </p:custDataLst>
          </p:nvPr>
        </p:nvSpPr>
        <p:spPr bwMode="auto">
          <a:xfrm>
            <a:off x="8402638" y="55816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8" name="Oval 149"/>
          <p:cNvSpPr>
            <a:spLocks noChangeAspect="1" noChangeArrowheads="1"/>
          </p:cNvSpPr>
          <p:nvPr>
            <p:custDataLst>
              <p:tags r:id="rId39"/>
            </p:custDataLst>
          </p:nvPr>
        </p:nvSpPr>
        <p:spPr bwMode="auto">
          <a:xfrm>
            <a:off x="8642350" y="54165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69" name="Oval 150"/>
          <p:cNvSpPr>
            <a:spLocks noChangeAspect="1" noChangeArrowheads="1"/>
          </p:cNvSpPr>
          <p:nvPr>
            <p:custDataLst>
              <p:tags r:id="rId40"/>
            </p:custDataLst>
          </p:nvPr>
        </p:nvSpPr>
        <p:spPr bwMode="auto">
          <a:xfrm>
            <a:off x="8256588" y="5241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0" name="Oval 152"/>
          <p:cNvSpPr>
            <a:spLocks noChangeAspect="1" noChangeArrowheads="1"/>
          </p:cNvSpPr>
          <p:nvPr>
            <p:custDataLst>
              <p:tags r:id="rId41"/>
            </p:custDataLst>
          </p:nvPr>
        </p:nvSpPr>
        <p:spPr bwMode="auto">
          <a:xfrm>
            <a:off x="8250238" y="50561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1" name="Oval 153"/>
          <p:cNvSpPr>
            <a:spLocks noChangeAspect="1" noChangeArrowheads="1"/>
          </p:cNvSpPr>
          <p:nvPr>
            <p:custDataLst>
              <p:tags r:id="rId42"/>
            </p:custDataLst>
          </p:nvPr>
        </p:nvSpPr>
        <p:spPr bwMode="auto">
          <a:xfrm>
            <a:off x="8450263" y="48148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2" name="Oval 154"/>
          <p:cNvSpPr>
            <a:spLocks noChangeAspect="1" noChangeArrowheads="1"/>
          </p:cNvSpPr>
          <p:nvPr>
            <p:custDataLst>
              <p:tags r:id="rId43"/>
            </p:custDataLst>
          </p:nvPr>
        </p:nvSpPr>
        <p:spPr bwMode="auto">
          <a:xfrm>
            <a:off x="8645525" y="478313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3" name="Oval 155"/>
          <p:cNvSpPr>
            <a:spLocks noChangeAspect="1" noChangeArrowheads="1"/>
          </p:cNvSpPr>
          <p:nvPr>
            <p:custDataLst>
              <p:tags r:id="rId44"/>
            </p:custDataLst>
          </p:nvPr>
        </p:nvSpPr>
        <p:spPr bwMode="auto">
          <a:xfrm>
            <a:off x="8332788" y="4606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4" name="Oval 156"/>
          <p:cNvSpPr>
            <a:spLocks noChangeAspect="1" noChangeArrowheads="1"/>
          </p:cNvSpPr>
          <p:nvPr>
            <p:custDataLst>
              <p:tags r:id="rId45"/>
            </p:custDataLst>
          </p:nvPr>
        </p:nvSpPr>
        <p:spPr bwMode="auto">
          <a:xfrm>
            <a:off x="8253413" y="4875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5" name="Oval 158"/>
          <p:cNvSpPr>
            <a:spLocks noChangeAspect="1" noChangeArrowheads="1"/>
          </p:cNvSpPr>
          <p:nvPr>
            <p:custDataLst>
              <p:tags r:id="rId46"/>
            </p:custDataLst>
          </p:nvPr>
        </p:nvSpPr>
        <p:spPr bwMode="auto">
          <a:xfrm>
            <a:off x="7900988" y="47672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6" name="Oval 159"/>
          <p:cNvSpPr>
            <a:spLocks noChangeAspect="1" noChangeArrowheads="1"/>
          </p:cNvSpPr>
          <p:nvPr>
            <p:custDataLst>
              <p:tags r:id="rId47"/>
            </p:custDataLst>
          </p:nvPr>
        </p:nvSpPr>
        <p:spPr bwMode="auto">
          <a:xfrm>
            <a:off x="7858125" y="4819650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7" name="Oval 160"/>
          <p:cNvSpPr>
            <a:spLocks noChangeAspect="1" noChangeArrowheads="1"/>
          </p:cNvSpPr>
          <p:nvPr>
            <p:custDataLst>
              <p:tags r:id="rId48"/>
            </p:custDataLst>
          </p:nvPr>
        </p:nvSpPr>
        <p:spPr bwMode="auto">
          <a:xfrm>
            <a:off x="7923213" y="48307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8" name="Oval 161"/>
          <p:cNvSpPr>
            <a:spLocks noChangeAspect="1" noChangeArrowheads="1"/>
          </p:cNvSpPr>
          <p:nvPr>
            <p:custDataLst>
              <p:tags r:id="rId49"/>
            </p:custDataLst>
          </p:nvPr>
        </p:nvSpPr>
        <p:spPr bwMode="auto">
          <a:xfrm>
            <a:off x="8110538" y="4967288"/>
            <a:ext cx="61912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79" name="Oval 162"/>
          <p:cNvSpPr>
            <a:spLocks noChangeAspect="1" noChangeArrowheads="1"/>
          </p:cNvSpPr>
          <p:nvPr>
            <p:custDataLst>
              <p:tags r:id="rId50"/>
            </p:custDataLst>
          </p:nvPr>
        </p:nvSpPr>
        <p:spPr bwMode="auto">
          <a:xfrm>
            <a:off x="8045450" y="49482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0" name="Oval 163"/>
          <p:cNvSpPr>
            <a:spLocks noChangeAspect="1" noChangeArrowheads="1"/>
          </p:cNvSpPr>
          <p:nvPr>
            <p:custDataLst>
              <p:tags r:id="rId51"/>
            </p:custDataLst>
          </p:nvPr>
        </p:nvSpPr>
        <p:spPr bwMode="auto">
          <a:xfrm>
            <a:off x="7916863" y="46132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1" name="Oval 166"/>
          <p:cNvSpPr>
            <a:spLocks noChangeAspect="1" noChangeArrowheads="1"/>
          </p:cNvSpPr>
          <p:nvPr>
            <p:custDataLst>
              <p:tags r:id="rId52"/>
            </p:custDataLst>
          </p:nvPr>
        </p:nvSpPr>
        <p:spPr bwMode="auto">
          <a:xfrm>
            <a:off x="7597775" y="4851400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2" name="Oval 168"/>
          <p:cNvSpPr>
            <a:spLocks noChangeAspect="1" noChangeArrowheads="1"/>
          </p:cNvSpPr>
          <p:nvPr>
            <p:custDataLst>
              <p:tags r:id="rId53"/>
            </p:custDataLst>
          </p:nvPr>
        </p:nvSpPr>
        <p:spPr bwMode="auto">
          <a:xfrm>
            <a:off x="7507288" y="51038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3" name="Oval 169"/>
          <p:cNvSpPr>
            <a:spLocks noChangeAspect="1" noChangeArrowheads="1"/>
          </p:cNvSpPr>
          <p:nvPr>
            <p:custDataLst>
              <p:tags r:id="rId54"/>
            </p:custDataLst>
          </p:nvPr>
        </p:nvSpPr>
        <p:spPr bwMode="auto">
          <a:xfrm>
            <a:off x="7227888" y="50387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4" name="Oval 170"/>
          <p:cNvSpPr>
            <a:spLocks noChangeAspect="1" noChangeArrowheads="1"/>
          </p:cNvSpPr>
          <p:nvPr>
            <p:custDataLst>
              <p:tags r:id="rId55"/>
            </p:custDataLst>
          </p:nvPr>
        </p:nvSpPr>
        <p:spPr bwMode="auto">
          <a:xfrm>
            <a:off x="7321550" y="511968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5" name="Oval 172"/>
          <p:cNvSpPr>
            <a:spLocks noChangeAspect="1" noChangeArrowheads="1"/>
          </p:cNvSpPr>
          <p:nvPr>
            <p:custDataLst>
              <p:tags r:id="rId56"/>
            </p:custDataLst>
          </p:nvPr>
        </p:nvSpPr>
        <p:spPr bwMode="auto">
          <a:xfrm>
            <a:off x="7329488" y="51704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6" name="Oval 173"/>
          <p:cNvSpPr>
            <a:spLocks noChangeAspect="1" noChangeArrowheads="1"/>
          </p:cNvSpPr>
          <p:nvPr>
            <p:custDataLst>
              <p:tags r:id="rId57"/>
            </p:custDataLst>
          </p:nvPr>
        </p:nvSpPr>
        <p:spPr bwMode="auto">
          <a:xfrm>
            <a:off x="7178675" y="50053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7" name="Oval 174"/>
          <p:cNvSpPr>
            <a:spLocks noChangeAspect="1" noChangeArrowheads="1"/>
          </p:cNvSpPr>
          <p:nvPr>
            <p:custDataLst>
              <p:tags r:id="rId58"/>
            </p:custDataLst>
          </p:nvPr>
        </p:nvSpPr>
        <p:spPr bwMode="auto">
          <a:xfrm>
            <a:off x="6791325" y="5097463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8" name="Oval 175"/>
          <p:cNvSpPr>
            <a:spLocks noChangeAspect="1" noChangeArrowheads="1"/>
          </p:cNvSpPr>
          <p:nvPr>
            <p:custDataLst>
              <p:tags r:id="rId59"/>
            </p:custDataLst>
          </p:nvPr>
        </p:nvSpPr>
        <p:spPr bwMode="auto">
          <a:xfrm>
            <a:off x="6937375" y="5019675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89" name="Oval 176"/>
          <p:cNvSpPr>
            <a:spLocks noChangeAspect="1" noChangeArrowheads="1"/>
          </p:cNvSpPr>
          <p:nvPr>
            <p:custDataLst>
              <p:tags r:id="rId60"/>
            </p:custDataLst>
          </p:nvPr>
        </p:nvSpPr>
        <p:spPr bwMode="auto">
          <a:xfrm>
            <a:off x="6500813" y="4910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0" name="Oval 177"/>
          <p:cNvSpPr>
            <a:spLocks noChangeAspect="1" noChangeArrowheads="1"/>
          </p:cNvSpPr>
          <p:nvPr>
            <p:custDataLst>
              <p:tags r:id="rId61"/>
            </p:custDataLst>
          </p:nvPr>
        </p:nvSpPr>
        <p:spPr bwMode="auto">
          <a:xfrm>
            <a:off x="6577013" y="48831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1" name="Oval 178"/>
          <p:cNvSpPr>
            <a:spLocks noChangeAspect="1" noChangeArrowheads="1"/>
          </p:cNvSpPr>
          <p:nvPr>
            <p:custDataLst>
              <p:tags r:id="rId62"/>
            </p:custDataLst>
          </p:nvPr>
        </p:nvSpPr>
        <p:spPr bwMode="auto">
          <a:xfrm>
            <a:off x="6586538" y="47053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2" name="Oval 179"/>
          <p:cNvSpPr>
            <a:spLocks noChangeAspect="1" noChangeArrowheads="1"/>
          </p:cNvSpPr>
          <p:nvPr>
            <p:custDataLst>
              <p:tags r:id="rId63"/>
            </p:custDataLst>
          </p:nvPr>
        </p:nvSpPr>
        <p:spPr bwMode="auto">
          <a:xfrm>
            <a:off x="6618288" y="4748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3" name="Oval 180"/>
          <p:cNvSpPr>
            <a:spLocks noChangeAspect="1" noChangeArrowheads="1"/>
          </p:cNvSpPr>
          <p:nvPr>
            <p:custDataLst>
              <p:tags r:id="rId64"/>
            </p:custDataLst>
          </p:nvPr>
        </p:nvSpPr>
        <p:spPr bwMode="auto">
          <a:xfrm>
            <a:off x="6237288" y="481171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4" name="Oval 181"/>
          <p:cNvSpPr>
            <a:spLocks noChangeAspect="1" noChangeArrowheads="1"/>
          </p:cNvSpPr>
          <p:nvPr>
            <p:custDataLst>
              <p:tags r:id="rId65"/>
            </p:custDataLst>
          </p:nvPr>
        </p:nvSpPr>
        <p:spPr bwMode="auto">
          <a:xfrm>
            <a:off x="6280150" y="4826000"/>
            <a:ext cx="61913" cy="5873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5" name="Oval 182"/>
          <p:cNvSpPr>
            <a:spLocks noChangeAspect="1" noChangeArrowheads="1"/>
          </p:cNvSpPr>
          <p:nvPr>
            <p:custDataLst>
              <p:tags r:id="rId66"/>
            </p:custDataLst>
          </p:nvPr>
        </p:nvSpPr>
        <p:spPr bwMode="auto">
          <a:xfrm>
            <a:off x="6238875" y="4611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6" name="Oval 183"/>
          <p:cNvSpPr>
            <a:spLocks noChangeAspect="1" noChangeArrowheads="1"/>
          </p:cNvSpPr>
          <p:nvPr>
            <p:custDataLst>
              <p:tags r:id="rId67"/>
            </p:custDataLst>
          </p:nvPr>
        </p:nvSpPr>
        <p:spPr bwMode="auto">
          <a:xfrm>
            <a:off x="6275388" y="46180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7" name="Oval 184"/>
          <p:cNvSpPr>
            <a:spLocks noChangeAspect="1" noChangeArrowheads="1"/>
          </p:cNvSpPr>
          <p:nvPr>
            <p:custDataLst>
              <p:tags r:id="rId68"/>
            </p:custDataLst>
          </p:nvPr>
        </p:nvSpPr>
        <p:spPr bwMode="auto">
          <a:xfrm>
            <a:off x="6245225" y="46466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8" name="Oval 185"/>
          <p:cNvSpPr>
            <a:spLocks noChangeAspect="1" noChangeArrowheads="1"/>
          </p:cNvSpPr>
          <p:nvPr>
            <p:custDataLst>
              <p:tags r:id="rId69"/>
            </p:custDataLst>
          </p:nvPr>
        </p:nvSpPr>
        <p:spPr bwMode="auto">
          <a:xfrm>
            <a:off x="6446838" y="4746625"/>
            <a:ext cx="60325" cy="5873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99" name="Oval 186"/>
          <p:cNvSpPr>
            <a:spLocks noChangeAspect="1" noChangeArrowheads="1"/>
          </p:cNvSpPr>
          <p:nvPr>
            <p:custDataLst>
              <p:tags r:id="rId70"/>
            </p:custDataLst>
          </p:nvPr>
        </p:nvSpPr>
        <p:spPr bwMode="auto">
          <a:xfrm>
            <a:off x="6804025" y="4632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0" name="Oval 187"/>
          <p:cNvSpPr>
            <a:spLocks noChangeAspect="1" noChangeArrowheads="1"/>
          </p:cNvSpPr>
          <p:nvPr>
            <p:custDataLst>
              <p:tags r:id="rId71"/>
            </p:custDataLst>
          </p:nvPr>
        </p:nvSpPr>
        <p:spPr bwMode="auto">
          <a:xfrm>
            <a:off x="6888163" y="4632325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1" name="Oval 188"/>
          <p:cNvSpPr>
            <a:spLocks noChangeAspect="1" noChangeArrowheads="1"/>
          </p:cNvSpPr>
          <p:nvPr>
            <p:custDataLst>
              <p:tags r:id="rId72"/>
            </p:custDataLst>
          </p:nvPr>
        </p:nvSpPr>
        <p:spPr bwMode="auto">
          <a:xfrm>
            <a:off x="7027863" y="45783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2" name="Oval 190"/>
          <p:cNvSpPr>
            <a:spLocks noChangeAspect="1" noChangeArrowheads="1"/>
          </p:cNvSpPr>
          <p:nvPr>
            <p:custDataLst>
              <p:tags r:id="rId73"/>
            </p:custDataLst>
          </p:nvPr>
        </p:nvSpPr>
        <p:spPr bwMode="auto">
          <a:xfrm>
            <a:off x="7335838" y="47323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3" name="Oval 191"/>
          <p:cNvSpPr>
            <a:spLocks noChangeAspect="1" noChangeArrowheads="1"/>
          </p:cNvSpPr>
          <p:nvPr>
            <p:custDataLst>
              <p:tags r:id="rId74"/>
            </p:custDataLst>
          </p:nvPr>
        </p:nvSpPr>
        <p:spPr bwMode="auto">
          <a:xfrm>
            <a:off x="7178675" y="4811713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4" name="Oval 193"/>
          <p:cNvSpPr>
            <a:spLocks noChangeAspect="1" noChangeArrowheads="1"/>
          </p:cNvSpPr>
          <p:nvPr>
            <p:custDataLst>
              <p:tags r:id="rId75"/>
            </p:custDataLst>
          </p:nvPr>
        </p:nvSpPr>
        <p:spPr bwMode="auto">
          <a:xfrm>
            <a:off x="7215188" y="48196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5" name="Oval 194"/>
          <p:cNvSpPr>
            <a:spLocks noChangeAspect="1" noChangeArrowheads="1"/>
          </p:cNvSpPr>
          <p:nvPr>
            <p:custDataLst>
              <p:tags r:id="rId76"/>
            </p:custDataLst>
          </p:nvPr>
        </p:nvSpPr>
        <p:spPr bwMode="auto">
          <a:xfrm>
            <a:off x="7329488" y="49339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6" name="Oval 195"/>
          <p:cNvSpPr>
            <a:spLocks noChangeAspect="1" noChangeArrowheads="1"/>
          </p:cNvSpPr>
          <p:nvPr>
            <p:custDataLst>
              <p:tags r:id="rId77"/>
            </p:custDataLst>
          </p:nvPr>
        </p:nvSpPr>
        <p:spPr bwMode="auto">
          <a:xfrm>
            <a:off x="7489825" y="46259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7" name="Oval 197"/>
          <p:cNvSpPr>
            <a:spLocks noChangeAspect="1" noChangeArrowheads="1"/>
          </p:cNvSpPr>
          <p:nvPr>
            <p:custDataLst>
              <p:tags r:id="rId78"/>
            </p:custDataLst>
          </p:nvPr>
        </p:nvSpPr>
        <p:spPr bwMode="auto">
          <a:xfrm>
            <a:off x="7464425" y="451008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8" name="Oval 198"/>
          <p:cNvSpPr>
            <a:spLocks noChangeAspect="1" noChangeArrowheads="1"/>
          </p:cNvSpPr>
          <p:nvPr>
            <p:custDataLst>
              <p:tags r:id="rId79"/>
            </p:custDataLst>
          </p:nvPr>
        </p:nvSpPr>
        <p:spPr bwMode="auto">
          <a:xfrm>
            <a:off x="7591425" y="4506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09" name="Oval 199"/>
          <p:cNvSpPr>
            <a:spLocks noChangeAspect="1" noChangeArrowheads="1"/>
          </p:cNvSpPr>
          <p:nvPr>
            <p:custDataLst>
              <p:tags r:id="rId80"/>
            </p:custDataLst>
          </p:nvPr>
        </p:nvSpPr>
        <p:spPr bwMode="auto">
          <a:xfrm>
            <a:off x="7248525" y="44656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0" name="Oval 200"/>
          <p:cNvSpPr>
            <a:spLocks noChangeAspect="1" noChangeArrowheads="1"/>
          </p:cNvSpPr>
          <p:nvPr>
            <p:custDataLst>
              <p:tags r:id="rId81"/>
            </p:custDataLst>
          </p:nvPr>
        </p:nvSpPr>
        <p:spPr bwMode="auto">
          <a:xfrm>
            <a:off x="7172325" y="44926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1" name="Oval 201"/>
          <p:cNvSpPr>
            <a:spLocks noChangeAspect="1" noChangeArrowheads="1"/>
          </p:cNvSpPr>
          <p:nvPr>
            <p:custDataLst>
              <p:tags r:id="rId82"/>
            </p:custDataLst>
          </p:nvPr>
        </p:nvSpPr>
        <p:spPr bwMode="auto">
          <a:xfrm>
            <a:off x="7346950" y="45021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2" name="Oval 204"/>
          <p:cNvSpPr>
            <a:spLocks noChangeAspect="1" noChangeArrowheads="1"/>
          </p:cNvSpPr>
          <p:nvPr>
            <p:custDataLst>
              <p:tags r:id="rId83"/>
            </p:custDataLst>
          </p:nvPr>
        </p:nvSpPr>
        <p:spPr bwMode="auto">
          <a:xfrm>
            <a:off x="7243763" y="45513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3" name="Oval 205"/>
          <p:cNvSpPr>
            <a:spLocks noChangeAspect="1" noChangeArrowheads="1"/>
          </p:cNvSpPr>
          <p:nvPr>
            <p:custDataLst>
              <p:tags r:id="rId84"/>
            </p:custDataLst>
          </p:nvPr>
        </p:nvSpPr>
        <p:spPr bwMode="auto">
          <a:xfrm>
            <a:off x="6873875" y="44910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4" name="Oval 206"/>
          <p:cNvSpPr>
            <a:spLocks noChangeAspect="1" noChangeArrowheads="1"/>
          </p:cNvSpPr>
          <p:nvPr>
            <p:custDataLst>
              <p:tags r:id="rId85"/>
            </p:custDataLst>
          </p:nvPr>
        </p:nvSpPr>
        <p:spPr bwMode="auto">
          <a:xfrm>
            <a:off x="6345238" y="42672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5" name="Oval 207"/>
          <p:cNvSpPr>
            <a:spLocks noChangeAspect="1" noChangeArrowheads="1"/>
          </p:cNvSpPr>
          <p:nvPr>
            <p:custDataLst>
              <p:tags r:id="rId86"/>
            </p:custDataLst>
          </p:nvPr>
        </p:nvSpPr>
        <p:spPr bwMode="auto">
          <a:xfrm>
            <a:off x="6416675" y="42449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6" name="Oval 208"/>
          <p:cNvSpPr>
            <a:spLocks noChangeAspect="1" noChangeArrowheads="1"/>
          </p:cNvSpPr>
          <p:nvPr>
            <p:custDataLst>
              <p:tags r:id="rId87"/>
            </p:custDataLst>
          </p:nvPr>
        </p:nvSpPr>
        <p:spPr bwMode="auto">
          <a:xfrm>
            <a:off x="6291263" y="43275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7" name="Oval 209"/>
          <p:cNvSpPr>
            <a:spLocks noChangeAspect="1" noChangeArrowheads="1"/>
          </p:cNvSpPr>
          <p:nvPr>
            <p:custDataLst>
              <p:tags r:id="rId88"/>
            </p:custDataLst>
          </p:nvPr>
        </p:nvSpPr>
        <p:spPr bwMode="auto">
          <a:xfrm>
            <a:off x="6443663" y="43989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8" name="Oval 210"/>
          <p:cNvSpPr>
            <a:spLocks noChangeAspect="1" noChangeArrowheads="1"/>
          </p:cNvSpPr>
          <p:nvPr>
            <p:custDataLst>
              <p:tags r:id="rId89"/>
            </p:custDataLst>
          </p:nvPr>
        </p:nvSpPr>
        <p:spPr bwMode="auto">
          <a:xfrm>
            <a:off x="6392863" y="4289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19" name="Oval 212"/>
          <p:cNvSpPr>
            <a:spLocks noChangeAspect="1" noChangeArrowheads="1"/>
          </p:cNvSpPr>
          <p:nvPr>
            <p:custDataLst>
              <p:tags r:id="rId90"/>
            </p:custDataLst>
          </p:nvPr>
        </p:nvSpPr>
        <p:spPr bwMode="auto">
          <a:xfrm>
            <a:off x="6254750" y="40846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0" name="Oval 214"/>
          <p:cNvSpPr>
            <a:spLocks noChangeAspect="1" noChangeArrowheads="1"/>
          </p:cNvSpPr>
          <p:nvPr>
            <p:custDataLst>
              <p:tags r:id="rId91"/>
            </p:custDataLst>
          </p:nvPr>
        </p:nvSpPr>
        <p:spPr bwMode="auto">
          <a:xfrm>
            <a:off x="6323013" y="41671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1" name="Oval 215"/>
          <p:cNvSpPr>
            <a:spLocks noChangeAspect="1" noChangeArrowheads="1"/>
          </p:cNvSpPr>
          <p:nvPr>
            <p:custDataLst>
              <p:tags r:id="rId92"/>
            </p:custDataLst>
          </p:nvPr>
        </p:nvSpPr>
        <p:spPr bwMode="auto">
          <a:xfrm>
            <a:off x="5962650" y="3781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2" name="Oval 216"/>
          <p:cNvSpPr>
            <a:spLocks noChangeAspect="1" noChangeArrowheads="1"/>
          </p:cNvSpPr>
          <p:nvPr>
            <p:custDataLst>
              <p:tags r:id="rId93"/>
            </p:custDataLst>
          </p:nvPr>
        </p:nvSpPr>
        <p:spPr bwMode="auto">
          <a:xfrm>
            <a:off x="5975350" y="37226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3" name="Oval 217"/>
          <p:cNvSpPr>
            <a:spLocks noChangeAspect="1" noChangeArrowheads="1"/>
          </p:cNvSpPr>
          <p:nvPr>
            <p:custDataLst>
              <p:tags r:id="rId94"/>
            </p:custDataLst>
          </p:nvPr>
        </p:nvSpPr>
        <p:spPr bwMode="auto">
          <a:xfrm>
            <a:off x="6042025" y="37560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4" name="Oval 220"/>
          <p:cNvSpPr>
            <a:spLocks noChangeAspect="1" noChangeArrowheads="1"/>
          </p:cNvSpPr>
          <p:nvPr>
            <p:custDataLst>
              <p:tags r:id="rId95"/>
            </p:custDataLst>
          </p:nvPr>
        </p:nvSpPr>
        <p:spPr bwMode="auto">
          <a:xfrm>
            <a:off x="6181725" y="3811588"/>
            <a:ext cx="61913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5" name="Oval 221"/>
          <p:cNvSpPr>
            <a:spLocks noChangeAspect="1" noChangeArrowheads="1"/>
          </p:cNvSpPr>
          <p:nvPr>
            <p:custDataLst>
              <p:tags r:id="rId96"/>
            </p:custDataLst>
          </p:nvPr>
        </p:nvSpPr>
        <p:spPr bwMode="auto">
          <a:xfrm>
            <a:off x="6096000" y="37925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6" name="Oval 222"/>
          <p:cNvSpPr>
            <a:spLocks noChangeAspect="1" noChangeArrowheads="1"/>
          </p:cNvSpPr>
          <p:nvPr>
            <p:custDataLst>
              <p:tags r:id="rId97"/>
            </p:custDataLst>
          </p:nvPr>
        </p:nvSpPr>
        <p:spPr bwMode="auto">
          <a:xfrm>
            <a:off x="6086475" y="3849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7" name="Oval 224"/>
          <p:cNvSpPr>
            <a:spLocks noChangeAspect="1" noChangeArrowheads="1"/>
          </p:cNvSpPr>
          <p:nvPr>
            <p:custDataLst>
              <p:tags r:id="rId98"/>
            </p:custDataLst>
          </p:nvPr>
        </p:nvSpPr>
        <p:spPr bwMode="auto">
          <a:xfrm>
            <a:off x="6191250" y="39354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8" name="Oval 225"/>
          <p:cNvSpPr>
            <a:spLocks noChangeAspect="1" noChangeArrowheads="1"/>
          </p:cNvSpPr>
          <p:nvPr>
            <p:custDataLst>
              <p:tags r:id="rId99"/>
            </p:custDataLst>
          </p:nvPr>
        </p:nvSpPr>
        <p:spPr bwMode="auto">
          <a:xfrm>
            <a:off x="6256338" y="390683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29" name="Oval 226"/>
          <p:cNvSpPr>
            <a:spLocks noChangeAspect="1" noChangeArrowheads="1"/>
          </p:cNvSpPr>
          <p:nvPr>
            <p:custDataLst>
              <p:tags r:id="rId100"/>
            </p:custDataLst>
          </p:nvPr>
        </p:nvSpPr>
        <p:spPr bwMode="auto">
          <a:xfrm>
            <a:off x="6300788" y="39481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0" name="Oval 227"/>
          <p:cNvSpPr>
            <a:spLocks noChangeAspect="1" noChangeArrowheads="1"/>
          </p:cNvSpPr>
          <p:nvPr>
            <p:custDataLst>
              <p:tags r:id="rId101"/>
            </p:custDataLst>
          </p:nvPr>
        </p:nvSpPr>
        <p:spPr bwMode="auto">
          <a:xfrm>
            <a:off x="6318250" y="38750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1" name="Oval 230"/>
          <p:cNvSpPr>
            <a:spLocks noChangeAspect="1" noChangeArrowheads="1"/>
          </p:cNvSpPr>
          <p:nvPr>
            <p:custDataLst>
              <p:tags r:id="rId102"/>
            </p:custDataLst>
          </p:nvPr>
        </p:nvSpPr>
        <p:spPr bwMode="auto">
          <a:xfrm>
            <a:off x="6424613" y="3743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2" name="Oval 232"/>
          <p:cNvSpPr>
            <a:spLocks noChangeAspect="1" noChangeArrowheads="1"/>
          </p:cNvSpPr>
          <p:nvPr>
            <p:custDataLst>
              <p:tags r:id="rId103"/>
            </p:custDataLst>
          </p:nvPr>
        </p:nvSpPr>
        <p:spPr bwMode="auto">
          <a:xfrm>
            <a:off x="6580188" y="3806825"/>
            <a:ext cx="60325" cy="5873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3" name="Oval 233"/>
          <p:cNvSpPr>
            <a:spLocks noChangeAspect="1" noChangeArrowheads="1"/>
          </p:cNvSpPr>
          <p:nvPr>
            <p:custDataLst>
              <p:tags r:id="rId104"/>
            </p:custDataLst>
          </p:nvPr>
        </p:nvSpPr>
        <p:spPr bwMode="auto">
          <a:xfrm>
            <a:off x="6611938" y="3781425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4" name="Oval 234"/>
          <p:cNvSpPr>
            <a:spLocks noChangeAspect="1" noChangeArrowheads="1"/>
          </p:cNvSpPr>
          <p:nvPr>
            <p:custDataLst>
              <p:tags r:id="rId105"/>
            </p:custDataLst>
          </p:nvPr>
        </p:nvSpPr>
        <p:spPr bwMode="auto">
          <a:xfrm>
            <a:off x="6557963" y="39671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5" name="Oval 235"/>
          <p:cNvSpPr>
            <a:spLocks noChangeAspect="1" noChangeArrowheads="1"/>
          </p:cNvSpPr>
          <p:nvPr>
            <p:custDataLst>
              <p:tags r:id="rId106"/>
            </p:custDataLst>
          </p:nvPr>
        </p:nvSpPr>
        <p:spPr bwMode="auto">
          <a:xfrm>
            <a:off x="6370638" y="4035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6" name="Oval 236"/>
          <p:cNvSpPr>
            <a:spLocks noChangeAspect="1" noChangeArrowheads="1"/>
          </p:cNvSpPr>
          <p:nvPr>
            <p:custDataLst>
              <p:tags r:id="rId107"/>
            </p:custDataLst>
          </p:nvPr>
        </p:nvSpPr>
        <p:spPr bwMode="auto">
          <a:xfrm>
            <a:off x="6524625" y="40894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7" name="Oval 237"/>
          <p:cNvSpPr>
            <a:spLocks noChangeAspect="1" noChangeArrowheads="1"/>
          </p:cNvSpPr>
          <p:nvPr>
            <p:custDataLst>
              <p:tags r:id="rId108"/>
            </p:custDataLst>
          </p:nvPr>
        </p:nvSpPr>
        <p:spPr bwMode="auto">
          <a:xfrm>
            <a:off x="6599238" y="40528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8" name="Oval 238"/>
          <p:cNvSpPr>
            <a:spLocks noChangeAspect="1" noChangeArrowheads="1"/>
          </p:cNvSpPr>
          <p:nvPr>
            <p:custDataLst>
              <p:tags r:id="rId109"/>
            </p:custDataLst>
          </p:nvPr>
        </p:nvSpPr>
        <p:spPr bwMode="auto">
          <a:xfrm>
            <a:off x="6604000" y="41513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39" name="Oval 239"/>
          <p:cNvSpPr>
            <a:spLocks noChangeAspect="1" noChangeArrowheads="1"/>
          </p:cNvSpPr>
          <p:nvPr>
            <p:custDataLst>
              <p:tags r:id="rId110"/>
            </p:custDataLst>
          </p:nvPr>
        </p:nvSpPr>
        <p:spPr bwMode="auto">
          <a:xfrm>
            <a:off x="6643688" y="4289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0" name="Oval 240"/>
          <p:cNvSpPr>
            <a:spLocks noChangeAspect="1" noChangeArrowheads="1"/>
          </p:cNvSpPr>
          <p:nvPr>
            <p:custDataLst>
              <p:tags r:id="rId111"/>
            </p:custDataLst>
          </p:nvPr>
        </p:nvSpPr>
        <p:spPr bwMode="auto">
          <a:xfrm>
            <a:off x="6700838" y="4352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1" name="Oval 241"/>
          <p:cNvSpPr>
            <a:spLocks noChangeAspect="1" noChangeArrowheads="1"/>
          </p:cNvSpPr>
          <p:nvPr>
            <p:custDataLst>
              <p:tags r:id="rId112"/>
            </p:custDataLst>
          </p:nvPr>
        </p:nvSpPr>
        <p:spPr bwMode="auto">
          <a:xfrm>
            <a:off x="6829425" y="4352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2" name="Oval 242"/>
          <p:cNvSpPr>
            <a:spLocks noChangeAspect="1" noChangeArrowheads="1"/>
          </p:cNvSpPr>
          <p:nvPr>
            <p:custDataLst>
              <p:tags r:id="rId113"/>
            </p:custDataLst>
          </p:nvPr>
        </p:nvSpPr>
        <p:spPr bwMode="auto">
          <a:xfrm>
            <a:off x="6910388" y="42910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3" name="Oval 243"/>
          <p:cNvSpPr>
            <a:spLocks noChangeAspect="1" noChangeArrowheads="1"/>
          </p:cNvSpPr>
          <p:nvPr>
            <p:custDataLst>
              <p:tags r:id="rId114"/>
            </p:custDataLst>
          </p:nvPr>
        </p:nvSpPr>
        <p:spPr bwMode="auto">
          <a:xfrm>
            <a:off x="7002463" y="42275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4" name="Oval 244"/>
          <p:cNvSpPr>
            <a:spLocks noChangeAspect="1" noChangeArrowheads="1"/>
          </p:cNvSpPr>
          <p:nvPr>
            <p:custDataLst>
              <p:tags r:id="rId115"/>
            </p:custDataLst>
          </p:nvPr>
        </p:nvSpPr>
        <p:spPr bwMode="auto">
          <a:xfrm>
            <a:off x="6799263" y="4124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5" name="Oval 245"/>
          <p:cNvSpPr>
            <a:spLocks noChangeAspect="1" noChangeArrowheads="1"/>
          </p:cNvSpPr>
          <p:nvPr>
            <p:custDataLst>
              <p:tags r:id="rId116"/>
            </p:custDataLst>
          </p:nvPr>
        </p:nvSpPr>
        <p:spPr bwMode="auto">
          <a:xfrm>
            <a:off x="6762750" y="4138613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6" name="Oval 246"/>
          <p:cNvSpPr>
            <a:spLocks noChangeAspect="1" noChangeArrowheads="1"/>
          </p:cNvSpPr>
          <p:nvPr>
            <p:custDataLst>
              <p:tags r:id="rId117"/>
            </p:custDataLst>
          </p:nvPr>
        </p:nvSpPr>
        <p:spPr bwMode="auto">
          <a:xfrm>
            <a:off x="6788150" y="41878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7" name="Oval 247"/>
          <p:cNvSpPr>
            <a:spLocks noChangeAspect="1" noChangeArrowheads="1"/>
          </p:cNvSpPr>
          <p:nvPr>
            <p:custDataLst>
              <p:tags r:id="rId118"/>
            </p:custDataLst>
          </p:nvPr>
        </p:nvSpPr>
        <p:spPr bwMode="auto">
          <a:xfrm>
            <a:off x="6854825" y="4148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8" name="Oval 248"/>
          <p:cNvSpPr>
            <a:spLocks noChangeAspect="1" noChangeArrowheads="1"/>
          </p:cNvSpPr>
          <p:nvPr>
            <p:custDataLst>
              <p:tags r:id="rId119"/>
            </p:custDataLst>
          </p:nvPr>
        </p:nvSpPr>
        <p:spPr bwMode="auto">
          <a:xfrm>
            <a:off x="7273925" y="4297363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49" name="Oval 249"/>
          <p:cNvSpPr>
            <a:spLocks noChangeAspect="1" noChangeArrowheads="1"/>
          </p:cNvSpPr>
          <p:nvPr>
            <p:custDataLst>
              <p:tags r:id="rId120"/>
            </p:custDataLst>
          </p:nvPr>
        </p:nvSpPr>
        <p:spPr bwMode="auto">
          <a:xfrm>
            <a:off x="7177088" y="42243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0" name="Oval 250"/>
          <p:cNvSpPr>
            <a:spLocks noChangeAspect="1" noChangeArrowheads="1"/>
          </p:cNvSpPr>
          <p:nvPr>
            <p:custDataLst>
              <p:tags r:id="rId121"/>
            </p:custDataLst>
          </p:nvPr>
        </p:nvSpPr>
        <p:spPr bwMode="auto">
          <a:xfrm>
            <a:off x="7131050" y="41576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1" name="Oval 251"/>
          <p:cNvSpPr>
            <a:spLocks noChangeAspect="1" noChangeArrowheads="1"/>
          </p:cNvSpPr>
          <p:nvPr>
            <p:custDataLst>
              <p:tags r:id="rId122"/>
            </p:custDataLst>
          </p:nvPr>
        </p:nvSpPr>
        <p:spPr bwMode="auto">
          <a:xfrm>
            <a:off x="7159625" y="40798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2" name="Oval 252"/>
          <p:cNvSpPr>
            <a:spLocks noChangeAspect="1" noChangeArrowheads="1"/>
          </p:cNvSpPr>
          <p:nvPr>
            <p:custDataLst>
              <p:tags r:id="rId123"/>
            </p:custDataLst>
          </p:nvPr>
        </p:nvSpPr>
        <p:spPr bwMode="auto">
          <a:xfrm>
            <a:off x="7264400" y="41227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3" name="Oval 253"/>
          <p:cNvSpPr>
            <a:spLocks noChangeAspect="1" noChangeArrowheads="1"/>
          </p:cNvSpPr>
          <p:nvPr>
            <p:custDataLst>
              <p:tags r:id="rId124"/>
            </p:custDataLst>
          </p:nvPr>
        </p:nvSpPr>
        <p:spPr bwMode="auto">
          <a:xfrm>
            <a:off x="7713663" y="42862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4" name="Oval 254"/>
          <p:cNvSpPr>
            <a:spLocks noChangeAspect="1" noChangeArrowheads="1"/>
          </p:cNvSpPr>
          <p:nvPr>
            <p:custDataLst>
              <p:tags r:id="rId125"/>
            </p:custDataLst>
          </p:nvPr>
        </p:nvSpPr>
        <p:spPr bwMode="auto">
          <a:xfrm>
            <a:off x="7731125" y="419893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5" name="Oval 255"/>
          <p:cNvSpPr>
            <a:spLocks noChangeAspect="1" noChangeArrowheads="1"/>
          </p:cNvSpPr>
          <p:nvPr>
            <p:custDataLst>
              <p:tags r:id="rId126"/>
            </p:custDataLst>
          </p:nvPr>
        </p:nvSpPr>
        <p:spPr bwMode="auto">
          <a:xfrm>
            <a:off x="7807325" y="4108450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6" name="Oval 256"/>
          <p:cNvSpPr>
            <a:spLocks noChangeAspect="1" noChangeArrowheads="1"/>
          </p:cNvSpPr>
          <p:nvPr>
            <p:custDataLst>
              <p:tags r:id="rId127"/>
            </p:custDataLst>
          </p:nvPr>
        </p:nvSpPr>
        <p:spPr bwMode="auto">
          <a:xfrm>
            <a:off x="7834313" y="4070350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7" name="Oval 257"/>
          <p:cNvSpPr>
            <a:spLocks noChangeAspect="1" noChangeArrowheads="1"/>
          </p:cNvSpPr>
          <p:nvPr>
            <p:custDataLst>
              <p:tags r:id="rId128"/>
            </p:custDataLst>
          </p:nvPr>
        </p:nvSpPr>
        <p:spPr bwMode="auto">
          <a:xfrm>
            <a:off x="7661275" y="40655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8" name="Oval 258"/>
          <p:cNvSpPr>
            <a:spLocks noChangeAspect="1" noChangeArrowheads="1"/>
          </p:cNvSpPr>
          <p:nvPr>
            <p:custDataLst>
              <p:tags r:id="rId129"/>
            </p:custDataLst>
          </p:nvPr>
        </p:nvSpPr>
        <p:spPr bwMode="auto">
          <a:xfrm>
            <a:off x="7645400" y="4021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59" name="Oval 259"/>
          <p:cNvSpPr>
            <a:spLocks noChangeAspect="1" noChangeArrowheads="1"/>
          </p:cNvSpPr>
          <p:nvPr>
            <p:custDataLst>
              <p:tags r:id="rId130"/>
            </p:custDataLst>
          </p:nvPr>
        </p:nvSpPr>
        <p:spPr bwMode="auto">
          <a:xfrm>
            <a:off x="7626350" y="39893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0" name="Oval 260"/>
          <p:cNvSpPr>
            <a:spLocks noChangeAspect="1" noChangeArrowheads="1"/>
          </p:cNvSpPr>
          <p:nvPr>
            <p:custDataLst>
              <p:tags r:id="rId131"/>
            </p:custDataLst>
          </p:nvPr>
        </p:nvSpPr>
        <p:spPr bwMode="auto">
          <a:xfrm>
            <a:off x="7608888" y="38957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1" name="Oval 261"/>
          <p:cNvSpPr>
            <a:spLocks noChangeAspect="1" noChangeArrowheads="1"/>
          </p:cNvSpPr>
          <p:nvPr>
            <p:custDataLst>
              <p:tags r:id="rId132"/>
            </p:custDataLst>
          </p:nvPr>
        </p:nvSpPr>
        <p:spPr bwMode="auto">
          <a:xfrm>
            <a:off x="7550150" y="3948113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2" name="Oval 262"/>
          <p:cNvSpPr>
            <a:spLocks noChangeAspect="1" noChangeArrowheads="1"/>
          </p:cNvSpPr>
          <p:nvPr>
            <p:custDataLst>
              <p:tags r:id="rId133"/>
            </p:custDataLst>
          </p:nvPr>
        </p:nvSpPr>
        <p:spPr bwMode="auto">
          <a:xfrm>
            <a:off x="7493000" y="39147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3" name="Oval 263"/>
          <p:cNvSpPr>
            <a:spLocks noChangeAspect="1" noChangeArrowheads="1"/>
          </p:cNvSpPr>
          <p:nvPr>
            <p:custDataLst>
              <p:tags r:id="rId134"/>
            </p:custDataLst>
          </p:nvPr>
        </p:nvSpPr>
        <p:spPr bwMode="auto">
          <a:xfrm>
            <a:off x="7459663" y="3849688"/>
            <a:ext cx="60325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4" name="Oval 264"/>
          <p:cNvSpPr>
            <a:spLocks noChangeAspect="1" noChangeArrowheads="1"/>
          </p:cNvSpPr>
          <p:nvPr>
            <p:custDataLst>
              <p:tags r:id="rId135"/>
            </p:custDataLst>
          </p:nvPr>
        </p:nvSpPr>
        <p:spPr bwMode="auto">
          <a:xfrm>
            <a:off x="7473950" y="40592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5" name="Oval 265"/>
          <p:cNvSpPr>
            <a:spLocks noChangeAspect="1" noChangeArrowheads="1"/>
          </p:cNvSpPr>
          <p:nvPr>
            <p:custDataLst>
              <p:tags r:id="rId136"/>
            </p:custDataLst>
          </p:nvPr>
        </p:nvSpPr>
        <p:spPr bwMode="auto">
          <a:xfrm>
            <a:off x="7573963" y="4175125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6" name="Oval 266"/>
          <p:cNvSpPr>
            <a:spLocks noChangeAspect="1" noChangeArrowheads="1"/>
          </p:cNvSpPr>
          <p:nvPr>
            <p:custDataLst>
              <p:tags r:id="rId137"/>
            </p:custDataLst>
          </p:nvPr>
        </p:nvSpPr>
        <p:spPr bwMode="auto">
          <a:xfrm>
            <a:off x="7354888" y="39798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7" name="Oval 267"/>
          <p:cNvSpPr>
            <a:spLocks noChangeAspect="1" noChangeArrowheads="1"/>
          </p:cNvSpPr>
          <p:nvPr>
            <p:custDataLst>
              <p:tags r:id="rId138"/>
            </p:custDataLst>
          </p:nvPr>
        </p:nvSpPr>
        <p:spPr bwMode="auto">
          <a:xfrm>
            <a:off x="7283450" y="39624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8" name="Oval 268"/>
          <p:cNvSpPr>
            <a:spLocks noChangeAspect="1" noChangeArrowheads="1"/>
          </p:cNvSpPr>
          <p:nvPr>
            <p:custDataLst>
              <p:tags r:id="rId139"/>
            </p:custDataLst>
          </p:nvPr>
        </p:nvSpPr>
        <p:spPr bwMode="auto">
          <a:xfrm>
            <a:off x="7312025" y="38433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69" name="Oval 269"/>
          <p:cNvSpPr>
            <a:spLocks noChangeAspect="1" noChangeArrowheads="1"/>
          </p:cNvSpPr>
          <p:nvPr>
            <p:custDataLst>
              <p:tags r:id="rId140"/>
            </p:custDataLst>
          </p:nvPr>
        </p:nvSpPr>
        <p:spPr bwMode="auto">
          <a:xfrm>
            <a:off x="6829425" y="3732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0" name="Oval 270"/>
          <p:cNvSpPr>
            <a:spLocks noChangeAspect="1" noChangeArrowheads="1"/>
          </p:cNvSpPr>
          <p:nvPr>
            <p:custDataLst>
              <p:tags r:id="rId141"/>
            </p:custDataLst>
          </p:nvPr>
        </p:nvSpPr>
        <p:spPr bwMode="auto">
          <a:xfrm>
            <a:off x="6873875" y="373380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1" name="Oval 271"/>
          <p:cNvSpPr>
            <a:spLocks noChangeAspect="1" noChangeArrowheads="1"/>
          </p:cNvSpPr>
          <p:nvPr>
            <p:custDataLst>
              <p:tags r:id="rId142"/>
            </p:custDataLst>
          </p:nvPr>
        </p:nvSpPr>
        <p:spPr bwMode="auto">
          <a:xfrm>
            <a:off x="6856413" y="38369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2" name="Oval 272"/>
          <p:cNvSpPr>
            <a:spLocks noChangeAspect="1" noChangeArrowheads="1"/>
          </p:cNvSpPr>
          <p:nvPr>
            <p:custDataLst>
              <p:tags r:id="rId143"/>
            </p:custDataLst>
          </p:nvPr>
        </p:nvSpPr>
        <p:spPr bwMode="auto">
          <a:xfrm>
            <a:off x="6926263" y="39306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3" name="Oval 273"/>
          <p:cNvSpPr>
            <a:spLocks noChangeAspect="1" noChangeArrowheads="1"/>
          </p:cNvSpPr>
          <p:nvPr>
            <p:custDataLst>
              <p:tags r:id="rId144"/>
            </p:custDataLst>
          </p:nvPr>
        </p:nvSpPr>
        <p:spPr bwMode="auto">
          <a:xfrm>
            <a:off x="7007225" y="39608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4" name="Oval 274"/>
          <p:cNvSpPr>
            <a:spLocks noChangeAspect="1" noChangeArrowheads="1"/>
          </p:cNvSpPr>
          <p:nvPr>
            <p:custDataLst>
              <p:tags r:id="rId145"/>
            </p:custDataLst>
          </p:nvPr>
        </p:nvSpPr>
        <p:spPr bwMode="auto">
          <a:xfrm>
            <a:off x="7080250" y="39846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5" name="Oval 275"/>
          <p:cNvSpPr>
            <a:spLocks noChangeAspect="1" noChangeArrowheads="1"/>
          </p:cNvSpPr>
          <p:nvPr>
            <p:custDataLst>
              <p:tags r:id="rId146"/>
            </p:custDataLst>
          </p:nvPr>
        </p:nvSpPr>
        <p:spPr bwMode="auto">
          <a:xfrm>
            <a:off x="7108825" y="39068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6" name="Oval 276"/>
          <p:cNvSpPr>
            <a:spLocks noChangeAspect="1" noChangeArrowheads="1"/>
          </p:cNvSpPr>
          <p:nvPr>
            <p:custDataLst>
              <p:tags r:id="rId147"/>
            </p:custDataLst>
          </p:nvPr>
        </p:nvSpPr>
        <p:spPr bwMode="auto">
          <a:xfrm>
            <a:off x="7004050" y="39068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7" name="Oval 277"/>
          <p:cNvSpPr>
            <a:spLocks noChangeAspect="1" noChangeArrowheads="1"/>
          </p:cNvSpPr>
          <p:nvPr>
            <p:custDataLst>
              <p:tags r:id="rId148"/>
            </p:custDataLst>
          </p:nvPr>
        </p:nvSpPr>
        <p:spPr bwMode="auto">
          <a:xfrm>
            <a:off x="7151688" y="38925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8" name="Oval 278"/>
          <p:cNvSpPr>
            <a:spLocks noChangeAspect="1" noChangeArrowheads="1"/>
          </p:cNvSpPr>
          <p:nvPr>
            <p:custDataLst>
              <p:tags r:id="rId149"/>
            </p:custDataLst>
          </p:nvPr>
        </p:nvSpPr>
        <p:spPr bwMode="auto">
          <a:xfrm>
            <a:off x="7126288" y="3849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79" name="Oval 279"/>
          <p:cNvSpPr>
            <a:spLocks noChangeAspect="1" noChangeArrowheads="1"/>
          </p:cNvSpPr>
          <p:nvPr>
            <p:custDataLst>
              <p:tags r:id="rId150"/>
            </p:custDataLst>
          </p:nvPr>
        </p:nvSpPr>
        <p:spPr bwMode="auto">
          <a:xfrm>
            <a:off x="7040563" y="3802063"/>
            <a:ext cx="61912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0" name="Oval 280"/>
          <p:cNvSpPr>
            <a:spLocks noChangeAspect="1" noChangeArrowheads="1"/>
          </p:cNvSpPr>
          <p:nvPr>
            <p:custDataLst>
              <p:tags r:id="rId151"/>
            </p:custDataLst>
          </p:nvPr>
        </p:nvSpPr>
        <p:spPr bwMode="auto">
          <a:xfrm>
            <a:off x="7105650" y="36401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1" name="Oval 281"/>
          <p:cNvSpPr>
            <a:spLocks noChangeAspect="1" noChangeArrowheads="1"/>
          </p:cNvSpPr>
          <p:nvPr>
            <p:custDataLst>
              <p:tags r:id="rId152"/>
            </p:custDataLst>
          </p:nvPr>
        </p:nvSpPr>
        <p:spPr bwMode="auto">
          <a:xfrm>
            <a:off x="6977063" y="36290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2" name="Oval 282"/>
          <p:cNvSpPr>
            <a:spLocks noChangeAspect="1" noChangeArrowheads="1"/>
          </p:cNvSpPr>
          <p:nvPr>
            <p:custDataLst>
              <p:tags r:id="rId153"/>
            </p:custDataLst>
          </p:nvPr>
        </p:nvSpPr>
        <p:spPr bwMode="auto">
          <a:xfrm>
            <a:off x="7107238" y="35861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3" name="Oval 283"/>
          <p:cNvSpPr>
            <a:spLocks noChangeAspect="1" noChangeArrowheads="1"/>
          </p:cNvSpPr>
          <p:nvPr>
            <p:custDataLst>
              <p:tags r:id="rId154"/>
            </p:custDataLst>
          </p:nvPr>
        </p:nvSpPr>
        <p:spPr bwMode="auto">
          <a:xfrm>
            <a:off x="7146925" y="362743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4" name="Oval 284"/>
          <p:cNvSpPr>
            <a:spLocks noChangeAspect="1" noChangeArrowheads="1"/>
          </p:cNvSpPr>
          <p:nvPr>
            <p:custDataLst>
              <p:tags r:id="rId155"/>
            </p:custDataLst>
          </p:nvPr>
        </p:nvSpPr>
        <p:spPr bwMode="auto">
          <a:xfrm>
            <a:off x="7096125" y="37052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5" name="Oval 287"/>
          <p:cNvSpPr>
            <a:spLocks noChangeAspect="1" noChangeArrowheads="1"/>
          </p:cNvSpPr>
          <p:nvPr>
            <p:custDataLst>
              <p:tags r:id="rId156"/>
            </p:custDataLst>
          </p:nvPr>
        </p:nvSpPr>
        <p:spPr bwMode="auto">
          <a:xfrm>
            <a:off x="7439025" y="36385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6" name="Oval 288"/>
          <p:cNvSpPr>
            <a:spLocks noChangeAspect="1" noChangeArrowheads="1"/>
          </p:cNvSpPr>
          <p:nvPr>
            <p:custDataLst>
              <p:tags r:id="rId157"/>
            </p:custDataLst>
          </p:nvPr>
        </p:nvSpPr>
        <p:spPr bwMode="auto">
          <a:xfrm>
            <a:off x="7502525" y="32829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7" name="Oval 110"/>
          <p:cNvSpPr>
            <a:spLocks noChangeAspect="1" noChangeArrowheads="1"/>
          </p:cNvSpPr>
          <p:nvPr>
            <p:custDataLst>
              <p:tags r:id="rId158"/>
            </p:custDataLst>
          </p:nvPr>
        </p:nvSpPr>
        <p:spPr bwMode="auto">
          <a:xfrm>
            <a:off x="9253538" y="1989138"/>
            <a:ext cx="61912" cy="63500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8" name="Oval 110"/>
          <p:cNvSpPr>
            <a:spLocks noChangeAspect="1" noChangeArrowheads="1"/>
          </p:cNvSpPr>
          <p:nvPr>
            <p:custDataLst>
              <p:tags r:id="rId159"/>
            </p:custDataLst>
          </p:nvPr>
        </p:nvSpPr>
        <p:spPr bwMode="auto">
          <a:xfrm>
            <a:off x="6848475" y="3152775"/>
            <a:ext cx="60325" cy="63500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89" name="Oval 104"/>
          <p:cNvSpPr>
            <a:spLocks noChangeAspect="1" noChangeArrowheads="1"/>
          </p:cNvSpPr>
          <p:nvPr>
            <p:custDataLst>
              <p:tags r:id="rId160"/>
            </p:custDataLst>
          </p:nvPr>
        </p:nvSpPr>
        <p:spPr bwMode="auto">
          <a:xfrm>
            <a:off x="9077325" y="4256088"/>
            <a:ext cx="61913" cy="60325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0" name="Oval 118"/>
          <p:cNvSpPr>
            <a:spLocks noChangeAspect="1" noChangeArrowheads="1"/>
          </p:cNvSpPr>
          <p:nvPr>
            <p:custDataLst>
              <p:tags r:id="rId161"/>
            </p:custDataLst>
          </p:nvPr>
        </p:nvSpPr>
        <p:spPr bwMode="auto">
          <a:xfrm>
            <a:off x="4556125" y="5341938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1" name="Oval 135"/>
          <p:cNvSpPr>
            <a:spLocks noChangeAspect="1" noChangeArrowheads="1"/>
          </p:cNvSpPr>
          <p:nvPr>
            <p:custDataLst>
              <p:tags r:id="rId162"/>
            </p:custDataLst>
          </p:nvPr>
        </p:nvSpPr>
        <p:spPr bwMode="auto">
          <a:xfrm>
            <a:off x="6592888" y="538321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2" name="Oval 135"/>
          <p:cNvSpPr>
            <a:spLocks noChangeAspect="1" noChangeArrowheads="1"/>
          </p:cNvSpPr>
          <p:nvPr>
            <p:custDataLst>
              <p:tags r:id="rId163"/>
            </p:custDataLst>
          </p:nvPr>
        </p:nvSpPr>
        <p:spPr bwMode="auto">
          <a:xfrm>
            <a:off x="6400800" y="54149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3" name="Oval 134"/>
          <p:cNvSpPr>
            <a:spLocks noChangeAspect="1" noChangeArrowheads="1"/>
          </p:cNvSpPr>
          <p:nvPr>
            <p:custDataLst>
              <p:tags r:id="rId164"/>
            </p:custDataLst>
          </p:nvPr>
        </p:nvSpPr>
        <p:spPr bwMode="auto">
          <a:xfrm>
            <a:off x="5867400" y="59404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4" name="Oval 136"/>
          <p:cNvSpPr>
            <a:spLocks noChangeAspect="1" noChangeArrowheads="1"/>
          </p:cNvSpPr>
          <p:nvPr>
            <p:custDataLst>
              <p:tags r:id="rId165"/>
            </p:custDataLst>
          </p:nvPr>
        </p:nvSpPr>
        <p:spPr bwMode="auto">
          <a:xfrm>
            <a:off x="7869238" y="5387975"/>
            <a:ext cx="60325" cy="6508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5" name="Oval 136"/>
          <p:cNvSpPr>
            <a:spLocks noChangeAspect="1" noChangeArrowheads="1"/>
          </p:cNvSpPr>
          <p:nvPr>
            <p:custDataLst>
              <p:tags r:id="rId166"/>
            </p:custDataLst>
          </p:nvPr>
        </p:nvSpPr>
        <p:spPr bwMode="auto">
          <a:xfrm>
            <a:off x="7761288" y="5489575"/>
            <a:ext cx="60325" cy="65088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6" name="Oval 148"/>
          <p:cNvSpPr>
            <a:spLocks noChangeAspect="1" noChangeArrowheads="1"/>
          </p:cNvSpPr>
          <p:nvPr>
            <p:custDataLst>
              <p:tags r:id="rId167"/>
            </p:custDataLst>
          </p:nvPr>
        </p:nvSpPr>
        <p:spPr bwMode="auto">
          <a:xfrm>
            <a:off x="8447088" y="56324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7" name="Oval 153"/>
          <p:cNvSpPr>
            <a:spLocks noChangeAspect="1" noChangeArrowheads="1"/>
          </p:cNvSpPr>
          <p:nvPr>
            <p:custDataLst>
              <p:tags r:id="rId168"/>
            </p:custDataLst>
          </p:nvPr>
        </p:nvSpPr>
        <p:spPr bwMode="auto">
          <a:xfrm>
            <a:off x="8374063" y="48910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8" name="Oval 155"/>
          <p:cNvSpPr>
            <a:spLocks noChangeAspect="1" noChangeArrowheads="1"/>
          </p:cNvSpPr>
          <p:nvPr>
            <p:custDataLst>
              <p:tags r:id="rId169"/>
            </p:custDataLst>
          </p:nvPr>
        </p:nvSpPr>
        <p:spPr bwMode="auto">
          <a:xfrm>
            <a:off x="8281988" y="4702175"/>
            <a:ext cx="60325" cy="635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199" name="Oval 215"/>
          <p:cNvSpPr>
            <a:spLocks noChangeAspect="1" noChangeArrowheads="1"/>
          </p:cNvSpPr>
          <p:nvPr>
            <p:custDataLst>
              <p:tags r:id="rId170"/>
            </p:custDataLst>
          </p:nvPr>
        </p:nvSpPr>
        <p:spPr bwMode="auto">
          <a:xfrm>
            <a:off x="6027738" y="3733800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0" name="Oval 222"/>
          <p:cNvSpPr>
            <a:spLocks noChangeAspect="1" noChangeArrowheads="1"/>
          </p:cNvSpPr>
          <p:nvPr>
            <p:custDataLst>
              <p:tags r:id="rId171"/>
            </p:custDataLst>
          </p:nvPr>
        </p:nvSpPr>
        <p:spPr bwMode="auto">
          <a:xfrm>
            <a:off x="5983288" y="38576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1" name="Oval 222"/>
          <p:cNvSpPr>
            <a:spLocks noChangeAspect="1" noChangeArrowheads="1"/>
          </p:cNvSpPr>
          <p:nvPr>
            <p:custDataLst>
              <p:tags r:id="rId172"/>
            </p:custDataLst>
          </p:nvPr>
        </p:nvSpPr>
        <p:spPr bwMode="auto">
          <a:xfrm>
            <a:off x="6027738" y="388778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2" name="Oval 219"/>
          <p:cNvSpPr>
            <a:spLocks noChangeAspect="1" noChangeArrowheads="1"/>
          </p:cNvSpPr>
          <p:nvPr>
            <p:custDataLst>
              <p:tags r:id="rId173"/>
            </p:custDataLst>
          </p:nvPr>
        </p:nvSpPr>
        <p:spPr bwMode="auto">
          <a:xfrm>
            <a:off x="6143625" y="37941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3" name="Oval 222"/>
          <p:cNvSpPr>
            <a:spLocks noChangeAspect="1" noChangeArrowheads="1"/>
          </p:cNvSpPr>
          <p:nvPr>
            <p:custDataLst>
              <p:tags r:id="rId174"/>
            </p:custDataLst>
          </p:nvPr>
        </p:nvSpPr>
        <p:spPr bwMode="auto">
          <a:xfrm>
            <a:off x="6011863" y="383857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4" name="Oval 218"/>
          <p:cNvSpPr>
            <a:spLocks noChangeAspect="1" noChangeArrowheads="1"/>
          </p:cNvSpPr>
          <p:nvPr>
            <p:custDataLst>
              <p:tags r:id="rId175"/>
            </p:custDataLst>
          </p:nvPr>
        </p:nvSpPr>
        <p:spPr bwMode="auto">
          <a:xfrm>
            <a:off x="6218238" y="38925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5" name="Oval 223"/>
          <p:cNvSpPr>
            <a:spLocks noChangeAspect="1" noChangeArrowheads="1"/>
          </p:cNvSpPr>
          <p:nvPr>
            <p:custDataLst>
              <p:tags r:id="rId176"/>
            </p:custDataLst>
          </p:nvPr>
        </p:nvSpPr>
        <p:spPr bwMode="auto">
          <a:xfrm>
            <a:off x="6234113" y="395128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6" name="Oval 222"/>
          <p:cNvSpPr>
            <a:spLocks noChangeAspect="1" noChangeArrowheads="1"/>
          </p:cNvSpPr>
          <p:nvPr>
            <p:custDataLst>
              <p:tags r:id="rId177"/>
            </p:custDataLst>
          </p:nvPr>
        </p:nvSpPr>
        <p:spPr bwMode="auto">
          <a:xfrm>
            <a:off x="6126163" y="3963988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7" name="Oval 222"/>
          <p:cNvSpPr>
            <a:spLocks noChangeAspect="1" noChangeArrowheads="1"/>
          </p:cNvSpPr>
          <p:nvPr>
            <p:custDataLst>
              <p:tags r:id="rId178"/>
            </p:custDataLst>
          </p:nvPr>
        </p:nvSpPr>
        <p:spPr bwMode="auto">
          <a:xfrm>
            <a:off x="6099175" y="39385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8" name="Oval 213"/>
          <p:cNvSpPr>
            <a:spLocks noChangeAspect="1" noChangeArrowheads="1"/>
          </p:cNvSpPr>
          <p:nvPr>
            <p:custDataLst>
              <p:tags r:id="rId179"/>
            </p:custDataLst>
          </p:nvPr>
        </p:nvSpPr>
        <p:spPr bwMode="auto">
          <a:xfrm>
            <a:off x="6272213" y="41544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09" name="Oval 214"/>
          <p:cNvSpPr>
            <a:spLocks noChangeAspect="1" noChangeArrowheads="1"/>
          </p:cNvSpPr>
          <p:nvPr>
            <p:custDataLst>
              <p:tags r:id="rId180"/>
            </p:custDataLst>
          </p:nvPr>
        </p:nvSpPr>
        <p:spPr bwMode="auto">
          <a:xfrm>
            <a:off x="6310313" y="4125913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0" name="Oval 206"/>
          <p:cNvSpPr>
            <a:spLocks noChangeAspect="1" noChangeArrowheads="1"/>
          </p:cNvSpPr>
          <p:nvPr>
            <p:custDataLst>
              <p:tags r:id="rId181"/>
            </p:custDataLst>
          </p:nvPr>
        </p:nvSpPr>
        <p:spPr bwMode="auto">
          <a:xfrm>
            <a:off x="6248400" y="42306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1" name="Oval 206"/>
          <p:cNvSpPr>
            <a:spLocks noChangeAspect="1" noChangeArrowheads="1"/>
          </p:cNvSpPr>
          <p:nvPr>
            <p:custDataLst>
              <p:tags r:id="rId182"/>
            </p:custDataLst>
          </p:nvPr>
        </p:nvSpPr>
        <p:spPr bwMode="auto">
          <a:xfrm>
            <a:off x="6221413" y="42148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2" name="Oval 229"/>
          <p:cNvSpPr>
            <a:spLocks noChangeAspect="1" noChangeArrowheads="1"/>
          </p:cNvSpPr>
          <p:nvPr>
            <p:custDataLst>
              <p:tags r:id="rId183"/>
            </p:custDataLst>
          </p:nvPr>
        </p:nvSpPr>
        <p:spPr bwMode="auto">
          <a:xfrm>
            <a:off x="6430963" y="3833813"/>
            <a:ext cx="61912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3" name="Oval 229"/>
          <p:cNvSpPr>
            <a:spLocks noChangeAspect="1" noChangeArrowheads="1"/>
          </p:cNvSpPr>
          <p:nvPr>
            <p:custDataLst>
              <p:tags r:id="rId184"/>
            </p:custDataLst>
          </p:nvPr>
        </p:nvSpPr>
        <p:spPr bwMode="auto">
          <a:xfrm>
            <a:off x="6415088" y="38449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4" name="Oval 232"/>
          <p:cNvSpPr>
            <a:spLocks noChangeAspect="1" noChangeArrowheads="1"/>
          </p:cNvSpPr>
          <p:nvPr>
            <p:custDataLst>
              <p:tags r:id="rId185"/>
            </p:custDataLst>
          </p:nvPr>
        </p:nvSpPr>
        <p:spPr bwMode="auto">
          <a:xfrm>
            <a:off x="6561138" y="3773488"/>
            <a:ext cx="61912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5" name="Oval 269"/>
          <p:cNvSpPr>
            <a:spLocks noChangeAspect="1" noChangeArrowheads="1"/>
          </p:cNvSpPr>
          <p:nvPr>
            <p:custDataLst>
              <p:tags r:id="rId186"/>
            </p:custDataLst>
          </p:nvPr>
        </p:nvSpPr>
        <p:spPr bwMode="auto">
          <a:xfrm>
            <a:off x="6854825" y="37004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6" name="Oval 235"/>
          <p:cNvSpPr>
            <a:spLocks noChangeAspect="1" noChangeArrowheads="1"/>
          </p:cNvSpPr>
          <p:nvPr>
            <p:custDataLst>
              <p:tags r:id="rId187"/>
            </p:custDataLst>
          </p:nvPr>
        </p:nvSpPr>
        <p:spPr bwMode="auto">
          <a:xfrm>
            <a:off x="6400800" y="395446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7" name="Oval 235"/>
          <p:cNvSpPr>
            <a:spLocks noChangeAspect="1" noChangeArrowheads="1"/>
          </p:cNvSpPr>
          <p:nvPr>
            <p:custDataLst>
              <p:tags r:id="rId188"/>
            </p:custDataLst>
          </p:nvPr>
        </p:nvSpPr>
        <p:spPr bwMode="auto">
          <a:xfrm>
            <a:off x="6423025" y="407987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8" name="Oval 234"/>
          <p:cNvSpPr>
            <a:spLocks noChangeAspect="1" noChangeArrowheads="1"/>
          </p:cNvSpPr>
          <p:nvPr>
            <p:custDataLst>
              <p:tags r:id="rId189"/>
            </p:custDataLst>
          </p:nvPr>
        </p:nvSpPr>
        <p:spPr bwMode="auto">
          <a:xfrm>
            <a:off x="6503988" y="39862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19" name="Oval 234"/>
          <p:cNvSpPr>
            <a:spLocks noChangeAspect="1" noChangeArrowheads="1"/>
          </p:cNvSpPr>
          <p:nvPr>
            <p:custDataLst>
              <p:tags r:id="rId190"/>
            </p:custDataLst>
          </p:nvPr>
        </p:nvSpPr>
        <p:spPr bwMode="auto">
          <a:xfrm>
            <a:off x="6537325" y="40020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0" name="Oval 237"/>
          <p:cNvSpPr>
            <a:spLocks noChangeAspect="1" noChangeArrowheads="1"/>
          </p:cNvSpPr>
          <p:nvPr>
            <p:custDataLst>
              <p:tags r:id="rId191"/>
            </p:custDataLst>
          </p:nvPr>
        </p:nvSpPr>
        <p:spPr bwMode="auto">
          <a:xfrm>
            <a:off x="6721475" y="39639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1" name="Oval 208"/>
          <p:cNvSpPr>
            <a:spLocks noChangeAspect="1" noChangeArrowheads="1"/>
          </p:cNvSpPr>
          <p:nvPr>
            <p:custDataLst>
              <p:tags r:id="rId192"/>
            </p:custDataLst>
          </p:nvPr>
        </p:nvSpPr>
        <p:spPr bwMode="auto">
          <a:xfrm>
            <a:off x="6223000" y="430688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2" name="Oval 208"/>
          <p:cNvSpPr>
            <a:spLocks noChangeAspect="1" noChangeArrowheads="1"/>
          </p:cNvSpPr>
          <p:nvPr>
            <p:custDataLst>
              <p:tags r:id="rId193"/>
            </p:custDataLst>
          </p:nvPr>
        </p:nvSpPr>
        <p:spPr bwMode="auto">
          <a:xfrm>
            <a:off x="6223000" y="4348163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3" name="Oval 209"/>
          <p:cNvSpPr>
            <a:spLocks noChangeAspect="1" noChangeArrowheads="1"/>
          </p:cNvSpPr>
          <p:nvPr>
            <p:custDataLst>
              <p:tags r:id="rId194"/>
            </p:custDataLst>
          </p:nvPr>
        </p:nvSpPr>
        <p:spPr bwMode="auto">
          <a:xfrm>
            <a:off x="6435725" y="45021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4" name="Oval 209"/>
          <p:cNvSpPr>
            <a:spLocks noChangeAspect="1" noChangeArrowheads="1"/>
          </p:cNvSpPr>
          <p:nvPr>
            <p:custDataLst>
              <p:tags r:id="rId195"/>
            </p:custDataLst>
          </p:nvPr>
        </p:nvSpPr>
        <p:spPr bwMode="auto">
          <a:xfrm>
            <a:off x="6491288" y="45021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5" name="Oval 176"/>
          <p:cNvSpPr>
            <a:spLocks noChangeAspect="1" noChangeArrowheads="1"/>
          </p:cNvSpPr>
          <p:nvPr>
            <p:custDataLst>
              <p:tags r:id="rId196"/>
            </p:custDataLst>
          </p:nvPr>
        </p:nvSpPr>
        <p:spPr bwMode="auto">
          <a:xfrm>
            <a:off x="6305550" y="4906963"/>
            <a:ext cx="61913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6" name="Oval 185"/>
          <p:cNvSpPr>
            <a:spLocks noChangeAspect="1" noChangeArrowheads="1"/>
          </p:cNvSpPr>
          <p:nvPr>
            <p:custDataLst>
              <p:tags r:id="rId197"/>
            </p:custDataLst>
          </p:nvPr>
        </p:nvSpPr>
        <p:spPr bwMode="auto">
          <a:xfrm>
            <a:off x="6423025" y="4732338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7" name="Oval 169"/>
          <p:cNvSpPr>
            <a:spLocks noChangeAspect="1" noChangeArrowheads="1"/>
          </p:cNvSpPr>
          <p:nvPr>
            <p:custDataLst>
              <p:tags r:id="rId198"/>
            </p:custDataLst>
          </p:nvPr>
        </p:nvSpPr>
        <p:spPr bwMode="auto">
          <a:xfrm>
            <a:off x="7278688" y="5138738"/>
            <a:ext cx="60325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8" name="Oval 202"/>
          <p:cNvSpPr>
            <a:spLocks noChangeAspect="1" noChangeArrowheads="1"/>
          </p:cNvSpPr>
          <p:nvPr>
            <p:custDataLst>
              <p:tags r:id="rId199"/>
            </p:custDataLst>
          </p:nvPr>
        </p:nvSpPr>
        <p:spPr bwMode="auto">
          <a:xfrm>
            <a:off x="7250113" y="46275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29" name="Oval 203"/>
          <p:cNvSpPr>
            <a:spLocks noChangeAspect="1" noChangeArrowheads="1"/>
          </p:cNvSpPr>
          <p:nvPr>
            <p:custDataLst>
              <p:tags r:id="rId200"/>
            </p:custDataLst>
          </p:nvPr>
        </p:nvSpPr>
        <p:spPr bwMode="auto">
          <a:xfrm>
            <a:off x="7272338" y="45910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0" name="Oval 202"/>
          <p:cNvSpPr>
            <a:spLocks noChangeAspect="1" noChangeArrowheads="1"/>
          </p:cNvSpPr>
          <p:nvPr>
            <p:custDataLst>
              <p:tags r:id="rId201"/>
            </p:custDataLst>
          </p:nvPr>
        </p:nvSpPr>
        <p:spPr bwMode="auto">
          <a:xfrm>
            <a:off x="7194550" y="4543425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1" name="Oval 202"/>
          <p:cNvSpPr>
            <a:spLocks noChangeAspect="1" noChangeArrowheads="1"/>
          </p:cNvSpPr>
          <p:nvPr>
            <p:custDataLst>
              <p:tags r:id="rId202"/>
            </p:custDataLst>
          </p:nvPr>
        </p:nvSpPr>
        <p:spPr bwMode="auto">
          <a:xfrm>
            <a:off x="7169150" y="45783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2" name="Oval 202"/>
          <p:cNvSpPr>
            <a:spLocks noChangeAspect="1" noChangeArrowheads="1"/>
          </p:cNvSpPr>
          <p:nvPr>
            <p:custDataLst>
              <p:tags r:id="rId203"/>
            </p:custDataLst>
          </p:nvPr>
        </p:nvSpPr>
        <p:spPr bwMode="auto">
          <a:xfrm>
            <a:off x="7199313" y="4627563"/>
            <a:ext cx="61912" cy="61912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3" name="Oval 202"/>
          <p:cNvSpPr>
            <a:spLocks noChangeAspect="1" noChangeArrowheads="1"/>
          </p:cNvSpPr>
          <p:nvPr>
            <p:custDataLst>
              <p:tags r:id="rId204"/>
            </p:custDataLst>
          </p:nvPr>
        </p:nvSpPr>
        <p:spPr bwMode="auto">
          <a:xfrm>
            <a:off x="7104063" y="46466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4" name="Oval 201"/>
          <p:cNvSpPr>
            <a:spLocks noChangeAspect="1" noChangeArrowheads="1"/>
          </p:cNvSpPr>
          <p:nvPr>
            <p:custDataLst>
              <p:tags r:id="rId205"/>
            </p:custDataLst>
          </p:nvPr>
        </p:nvSpPr>
        <p:spPr bwMode="auto">
          <a:xfrm>
            <a:off x="7219950" y="4586288"/>
            <a:ext cx="61913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5" name="Oval 285"/>
          <p:cNvSpPr>
            <a:spLocks noChangeAspect="1" noChangeArrowheads="1"/>
          </p:cNvSpPr>
          <p:nvPr>
            <p:custDataLst>
              <p:tags r:id="rId206"/>
            </p:custDataLst>
          </p:nvPr>
        </p:nvSpPr>
        <p:spPr bwMode="auto">
          <a:xfrm>
            <a:off x="7000875" y="3489325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6" name="Oval 285"/>
          <p:cNvSpPr>
            <a:spLocks noChangeAspect="1" noChangeArrowheads="1"/>
          </p:cNvSpPr>
          <p:nvPr>
            <p:custDataLst>
              <p:tags r:id="rId207"/>
            </p:custDataLst>
          </p:nvPr>
        </p:nvSpPr>
        <p:spPr bwMode="auto">
          <a:xfrm>
            <a:off x="7040563" y="3486150"/>
            <a:ext cx="61912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7" name="Oval 279"/>
          <p:cNvSpPr>
            <a:spLocks noChangeAspect="1" noChangeArrowheads="1"/>
          </p:cNvSpPr>
          <p:nvPr>
            <p:custDataLst>
              <p:tags r:id="rId208"/>
            </p:custDataLst>
          </p:nvPr>
        </p:nvSpPr>
        <p:spPr bwMode="auto">
          <a:xfrm>
            <a:off x="6956425" y="3871913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8" name="Oval 284"/>
          <p:cNvSpPr>
            <a:spLocks noChangeAspect="1" noChangeArrowheads="1"/>
          </p:cNvSpPr>
          <p:nvPr>
            <p:custDataLst>
              <p:tags r:id="rId209"/>
            </p:custDataLst>
          </p:nvPr>
        </p:nvSpPr>
        <p:spPr bwMode="auto">
          <a:xfrm>
            <a:off x="7027863" y="3705225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39" name="Oval 248"/>
          <p:cNvSpPr>
            <a:spLocks noChangeAspect="1" noChangeArrowheads="1"/>
          </p:cNvSpPr>
          <p:nvPr>
            <p:custDataLst>
              <p:tags r:id="rId210"/>
            </p:custDataLst>
          </p:nvPr>
        </p:nvSpPr>
        <p:spPr bwMode="auto">
          <a:xfrm>
            <a:off x="7335838" y="4222750"/>
            <a:ext cx="60325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0" name="Oval 256"/>
          <p:cNvSpPr>
            <a:spLocks noChangeAspect="1" noChangeArrowheads="1"/>
          </p:cNvSpPr>
          <p:nvPr>
            <p:custDataLst>
              <p:tags r:id="rId211"/>
            </p:custDataLst>
          </p:nvPr>
        </p:nvSpPr>
        <p:spPr bwMode="auto">
          <a:xfrm>
            <a:off x="7796213" y="4070350"/>
            <a:ext cx="60325" cy="60325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1" name="Oval 261"/>
          <p:cNvSpPr>
            <a:spLocks noChangeAspect="1" noChangeArrowheads="1"/>
          </p:cNvSpPr>
          <p:nvPr>
            <p:custDataLst>
              <p:tags r:id="rId212"/>
            </p:custDataLst>
          </p:nvPr>
        </p:nvSpPr>
        <p:spPr bwMode="auto">
          <a:xfrm>
            <a:off x="7648575" y="3925888"/>
            <a:ext cx="61913" cy="58737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2" name="Oval 110"/>
          <p:cNvSpPr>
            <a:spLocks noChangeAspect="1" noChangeArrowheads="1"/>
          </p:cNvSpPr>
          <p:nvPr>
            <p:custDataLst>
              <p:tags r:id="rId213"/>
            </p:custDataLst>
          </p:nvPr>
        </p:nvSpPr>
        <p:spPr bwMode="auto">
          <a:xfrm>
            <a:off x="8640763" y="1660525"/>
            <a:ext cx="61912" cy="63500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3" name="Oval 287"/>
          <p:cNvSpPr>
            <a:spLocks noChangeAspect="1" noChangeArrowheads="1"/>
          </p:cNvSpPr>
          <p:nvPr>
            <p:custDataLst>
              <p:tags r:id="rId214"/>
            </p:custDataLst>
          </p:nvPr>
        </p:nvSpPr>
        <p:spPr bwMode="auto">
          <a:xfrm>
            <a:off x="7369175" y="3587750"/>
            <a:ext cx="61913" cy="61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4" name="Oval 104"/>
          <p:cNvSpPr>
            <a:spLocks noChangeAspect="1" noChangeArrowheads="1"/>
          </p:cNvSpPr>
          <p:nvPr>
            <p:custDataLst>
              <p:tags r:id="rId215"/>
            </p:custDataLst>
          </p:nvPr>
        </p:nvSpPr>
        <p:spPr bwMode="auto">
          <a:xfrm>
            <a:off x="8658225" y="2674938"/>
            <a:ext cx="60325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5" name="Oval 104"/>
          <p:cNvSpPr>
            <a:spLocks noChangeAspect="1" noChangeArrowheads="1"/>
          </p:cNvSpPr>
          <p:nvPr>
            <p:custDataLst>
              <p:tags r:id="rId216"/>
            </p:custDataLst>
          </p:nvPr>
        </p:nvSpPr>
        <p:spPr bwMode="auto">
          <a:xfrm>
            <a:off x="8870950" y="3846513"/>
            <a:ext cx="61913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6" name="Oval 104"/>
          <p:cNvSpPr>
            <a:spLocks noChangeAspect="1" noChangeArrowheads="1"/>
          </p:cNvSpPr>
          <p:nvPr>
            <p:custDataLst>
              <p:tags r:id="rId217"/>
            </p:custDataLst>
          </p:nvPr>
        </p:nvSpPr>
        <p:spPr bwMode="auto">
          <a:xfrm>
            <a:off x="8820150" y="4713288"/>
            <a:ext cx="61913" cy="60325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7" name="Oval 104"/>
          <p:cNvSpPr>
            <a:spLocks noChangeAspect="1" noChangeArrowheads="1"/>
          </p:cNvSpPr>
          <p:nvPr>
            <p:custDataLst>
              <p:tags r:id="rId218"/>
            </p:custDataLst>
          </p:nvPr>
        </p:nvSpPr>
        <p:spPr bwMode="auto">
          <a:xfrm>
            <a:off x="9101138" y="4732338"/>
            <a:ext cx="61912" cy="6191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52" name="Oval 132"/>
          <p:cNvSpPr>
            <a:spLocks noChangeAspect="1" noChangeArrowheads="1"/>
          </p:cNvSpPr>
          <p:nvPr>
            <p:custDataLst>
              <p:tags r:id="rId219"/>
            </p:custDataLst>
          </p:nvPr>
        </p:nvSpPr>
        <p:spPr bwMode="auto">
          <a:xfrm>
            <a:off x="7054124" y="4471711"/>
            <a:ext cx="226945" cy="220971"/>
          </a:xfrm>
          <a:prstGeom prst="ellipse">
            <a:avLst/>
          </a:prstGeom>
          <a:solidFill>
            <a:srgbClr val="E47F00"/>
          </a:solidFill>
          <a:ln w="12700">
            <a:solidFill>
              <a:schemeClr val="bg1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8" name="Oval 132"/>
          <p:cNvSpPr>
            <a:spLocks noChangeAspect="1" noChangeArrowheads="1"/>
          </p:cNvSpPr>
          <p:nvPr>
            <p:custDataLst>
              <p:tags r:id="rId220"/>
            </p:custDataLst>
          </p:nvPr>
        </p:nvSpPr>
        <p:spPr bwMode="auto">
          <a:xfrm>
            <a:off x="6054793" y="3863026"/>
            <a:ext cx="226945" cy="220971"/>
          </a:xfrm>
          <a:prstGeom prst="ellipse">
            <a:avLst/>
          </a:prstGeom>
          <a:solidFill>
            <a:srgbClr val="00529E"/>
          </a:solidFill>
          <a:ln w="12700">
            <a:solidFill>
              <a:schemeClr val="bg1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sp>
        <p:nvSpPr>
          <p:cNvPr id="249" name="Oval 132"/>
          <p:cNvSpPr>
            <a:spLocks noChangeAspect="1" noChangeArrowheads="1"/>
          </p:cNvSpPr>
          <p:nvPr>
            <p:custDataLst>
              <p:tags r:id="rId221"/>
            </p:custDataLst>
          </p:nvPr>
        </p:nvSpPr>
        <p:spPr bwMode="auto">
          <a:xfrm>
            <a:off x="6944552" y="3849379"/>
            <a:ext cx="226945" cy="220971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bg1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none" lIns="91394" tIns="45700" rIns="91394" bIns="45700" anchor="ctr"/>
          <a:lstStyle/>
          <a:p>
            <a:pPr defTabSz="914400"/>
            <a:endParaRPr lang="en-US"/>
          </a:p>
        </p:txBody>
      </p:sp>
      <p:grpSp>
        <p:nvGrpSpPr>
          <p:cNvPr id="250" name="Group 69"/>
          <p:cNvGrpSpPr>
            <a:grpSpLocks/>
          </p:cNvGrpSpPr>
          <p:nvPr/>
        </p:nvGrpSpPr>
        <p:grpSpPr bwMode="auto">
          <a:xfrm>
            <a:off x="5843563" y="2321719"/>
            <a:ext cx="2447925" cy="2108200"/>
            <a:chOff x="2290" y="813"/>
            <a:chExt cx="1444" cy="1328"/>
          </a:xfrm>
        </p:grpSpPr>
        <p:pic>
          <p:nvPicPr>
            <p:cNvPr id="251" name="Image 11"/>
            <p:cNvPicPr>
              <a:picLocks noChangeAspect="1"/>
            </p:cNvPicPr>
            <p:nvPr>
              <p:custDataLst>
                <p:tags r:id="rId226"/>
              </p:custDataLst>
            </p:nvPr>
          </p:nvPicPr>
          <p:blipFill>
            <a:blip r:embed="rId2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0" y="813"/>
              <a:ext cx="1444" cy="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2" name="Espace réservé du texte 18"/>
            <p:cNvSpPr txBox="1"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2513" y="1398"/>
              <a:ext cx="997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defTabSz="914400"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 err="1" smtClean="0">
                  <a:solidFill>
                    <a:schemeClr val="bg1"/>
                  </a:solidFill>
                </a:rPr>
                <a:t>Pôle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 Transport</a:t>
              </a:r>
              <a:endParaRPr lang="en-US" sz="16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53" name="Group 68"/>
          <p:cNvGrpSpPr>
            <a:grpSpLocks/>
          </p:cNvGrpSpPr>
          <p:nvPr/>
        </p:nvGrpSpPr>
        <p:grpSpPr bwMode="auto">
          <a:xfrm>
            <a:off x="6002338" y="3647890"/>
            <a:ext cx="2447925" cy="2108200"/>
            <a:chOff x="2290" y="2002"/>
            <a:chExt cx="1444" cy="1328"/>
          </a:xfrm>
        </p:grpSpPr>
        <p:pic>
          <p:nvPicPr>
            <p:cNvPr id="254" name="Image 10"/>
            <p:cNvPicPr>
              <a:picLocks noChangeAspect="1"/>
            </p:cNvPicPr>
            <p:nvPr>
              <p:custDataLst>
                <p:tags r:id="rId224"/>
              </p:custDataLst>
            </p:nvPr>
          </p:nvPicPr>
          <p:blipFill>
            <a:blip r:embed="rId2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0" y="2002"/>
              <a:ext cx="1444" cy="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5" name="Espace réservé du texte 18"/>
            <p:cNvSpPr txBox="1"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2513" y="2589"/>
              <a:ext cx="99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defTabSz="914400"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 err="1" smtClean="0">
                  <a:solidFill>
                    <a:schemeClr val="bg1"/>
                  </a:solidFill>
                </a:rPr>
                <a:t>Pôle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 smtClean="0">
                  <a:solidFill>
                    <a:schemeClr val="bg1"/>
                  </a:solidFill>
                </a:rPr>
                <a:t>Logistique</a:t>
              </a:r>
              <a:endParaRPr lang="en-US" sz="16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56" name="Group 67"/>
          <p:cNvGrpSpPr>
            <a:grpSpLocks/>
          </p:cNvGrpSpPr>
          <p:nvPr/>
        </p:nvGrpSpPr>
        <p:grpSpPr bwMode="auto">
          <a:xfrm>
            <a:off x="5074462" y="3100388"/>
            <a:ext cx="2271713" cy="1908175"/>
            <a:chOff x="4695" y="1972"/>
            <a:chExt cx="1340" cy="1202"/>
          </a:xfrm>
        </p:grpSpPr>
        <p:pic>
          <p:nvPicPr>
            <p:cNvPr id="257" name="Image 4"/>
            <p:cNvPicPr>
              <a:picLocks noChangeAspect="1"/>
            </p:cNvPicPr>
            <p:nvPr>
              <p:custDataLst>
                <p:tags r:id="rId222"/>
              </p:custDataLst>
            </p:nvPr>
          </p:nvPicPr>
          <p:blipFill>
            <a:blip r:embed="rId2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12" t="6033" r="4826" b="3319"/>
            <a:stretch>
              <a:fillRect/>
            </a:stretch>
          </p:blipFill>
          <p:spPr bwMode="auto">
            <a:xfrm>
              <a:off x="4695" y="1972"/>
              <a:ext cx="1340" cy="1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8" name="Espace réservé du texte 18"/>
            <p:cNvSpPr txBox="1"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5031" y="2394"/>
              <a:ext cx="781" cy="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2pPr>
              <a:lvl3pPr marL="11430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ea typeface="ＭＳ Ｐゴシック" pitchFamily="-84" charset="-128"/>
                </a:defRPr>
              </a:lvl9pPr>
            </a:lstStyle>
            <a:p>
              <a:pPr algn="ctr" defTabSz="914400">
                <a:spcBef>
                  <a:spcPct val="20000"/>
                </a:spcBef>
                <a:buFont typeface="Wingdings" pitchFamily="2" charset="2"/>
                <a:buNone/>
              </a:pPr>
              <a:r>
                <a:rPr lang="en-US" sz="1600" b="1" dirty="0" err="1" smtClean="0">
                  <a:solidFill>
                    <a:schemeClr val="bg1"/>
                  </a:solidFill>
                </a:rPr>
                <a:t>Pôle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 Clients </a:t>
              </a:r>
              <a:r>
                <a:rPr lang="en-US" sz="1600" b="1" dirty="0" err="1" smtClean="0">
                  <a:solidFill>
                    <a:schemeClr val="bg1"/>
                  </a:solidFill>
                </a:rPr>
                <a:t>Externes</a:t>
              </a:r>
              <a:endParaRPr lang="en-US" sz="16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259" name="Rectangle 5"/>
          <p:cNvSpPr>
            <a:spLocks noChangeArrowheads="1"/>
          </p:cNvSpPr>
          <p:nvPr/>
        </p:nvSpPr>
        <p:spPr bwMode="auto">
          <a:xfrm>
            <a:off x="5651500" y="4807831"/>
            <a:ext cx="3771900" cy="1987376"/>
          </a:xfrm>
          <a:prstGeom prst="rect">
            <a:avLst/>
          </a:prstGeom>
          <a:solidFill>
            <a:schemeClr val="tx1">
              <a:lumMod val="60000"/>
              <a:lumOff val="40000"/>
              <a:alpha val="25999"/>
            </a:schemeClr>
          </a:solidFill>
          <a:ln>
            <a:noFill/>
          </a:ln>
          <a:effectLst/>
        </p:spPr>
        <p:txBody>
          <a:bodyPr anchor="ctr"/>
          <a:lstStyle/>
          <a:p>
            <a:pPr marL="266700" indent="-266700" algn="l" eaLnBrk="0" hangingPunct="0">
              <a:lnSpc>
                <a:spcPct val="90000"/>
              </a:lnSpc>
              <a:spcBef>
                <a:spcPct val="40000"/>
              </a:spcBef>
              <a:buClr>
                <a:srgbClr val="23A4FB"/>
              </a:buClr>
              <a:buSzPct val="80000"/>
              <a:buFont typeface="Wingdings" pitchFamily="2" charset="2"/>
              <a:buChar char="l"/>
              <a:tabLst>
                <a:tab pos="2006600" algn="l"/>
                <a:tab pos="5334000" algn="r"/>
              </a:tabLst>
            </a:pPr>
            <a:r>
              <a:rPr lang="fr-FR" b="1" dirty="0">
                <a:solidFill>
                  <a:schemeClr val="tx1">
                    <a:lumMod val="75000"/>
                  </a:schemeClr>
                </a:solidFill>
              </a:rPr>
              <a:t>200 </a:t>
            </a:r>
            <a:r>
              <a:rPr lang="fr-FR" b="1" dirty="0" smtClean="0">
                <a:solidFill>
                  <a:schemeClr val="tx1">
                    <a:lumMod val="75000"/>
                  </a:schemeClr>
                </a:solidFill>
              </a:rPr>
              <a:t>collaborateurs pour :</a:t>
            </a:r>
            <a:endParaRPr lang="fr-FR" b="1" dirty="0">
              <a:solidFill>
                <a:schemeClr val="tx1">
                  <a:lumMod val="75000"/>
                </a:schemeClr>
              </a:solidFill>
            </a:endParaRPr>
          </a:p>
          <a:p>
            <a:pPr marL="266700" indent="-266700" algn="l" eaLnBrk="0" hangingPunct="0">
              <a:lnSpc>
                <a:spcPct val="90000"/>
              </a:lnSpc>
              <a:spcBef>
                <a:spcPct val="40000"/>
              </a:spcBef>
              <a:buClr>
                <a:srgbClr val="23A4FB"/>
              </a:buClr>
              <a:buSzPct val="80000"/>
              <a:buFont typeface="Wingdings" pitchFamily="2" charset="2"/>
              <a:buChar char="l"/>
              <a:tabLst>
                <a:tab pos="2006600" algn="l"/>
                <a:tab pos="5334000" algn="r"/>
              </a:tabLst>
            </a:pPr>
            <a:r>
              <a:rPr lang="fr-FR" b="1" dirty="0" smtClean="0">
                <a:solidFill>
                  <a:schemeClr val="tx1">
                    <a:lumMod val="75000"/>
                  </a:schemeClr>
                </a:solidFill>
              </a:rPr>
              <a:t>216 sites interconnectés et supervisés 24h/24, 7j/7</a:t>
            </a:r>
            <a:endParaRPr lang="fr-FR" b="1" dirty="0">
              <a:solidFill>
                <a:schemeClr val="tx1">
                  <a:lumMod val="75000"/>
                </a:schemeClr>
              </a:solidFill>
            </a:endParaRPr>
          </a:p>
          <a:p>
            <a:pPr marL="266700" indent="-266700" algn="l" eaLnBrk="0" hangingPunct="0">
              <a:lnSpc>
                <a:spcPct val="90000"/>
              </a:lnSpc>
              <a:spcBef>
                <a:spcPct val="40000"/>
              </a:spcBef>
              <a:buClr>
                <a:srgbClr val="23A4FB"/>
              </a:buClr>
              <a:buSzPct val="80000"/>
              <a:buFont typeface="Wingdings" pitchFamily="2" charset="2"/>
              <a:buChar char="l"/>
              <a:tabLst>
                <a:tab pos="2006600" algn="l"/>
                <a:tab pos="5334000" algn="r"/>
              </a:tabLst>
            </a:pPr>
            <a:r>
              <a:rPr lang="fr-FR" b="1" dirty="0" smtClean="0">
                <a:solidFill>
                  <a:schemeClr val="tx1">
                    <a:lumMod val="75000"/>
                  </a:schemeClr>
                </a:solidFill>
              </a:rPr>
              <a:t>+ 7000 postes de travail</a:t>
            </a:r>
            <a:r>
              <a:rPr lang="fr-FR" b="1" dirty="0">
                <a:solidFill>
                  <a:schemeClr val="tx1">
                    <a:lumMod val="75000"/>
                  </a:schemeClr>
                </a:solidFill>
              </a:rPr>
              <a:t>	</a:t>
            </a:r>
            <a:endParaRPr lang="fr-FR" b="1" baseline="30000" dirty="0">
              <a:solidFill>
                <a:schemeClr val="tx1">
                  <a:lumMod val="75000"/>
                </a:schemeClr>
              </a:solidFill>
            </a:endParaRPr>
          </a:p>
          <a:p>
            <a:pPr marL="266700" indent="-266700" algn="l" eaLnBrk="0" hangingPunct="0">
              <a:lnSpc>
                <a:spcPct val="90000"/>
              </a:lnSpc>
              <a:spcBef>
                <a:spcPct val="40000"/>
              </a:spcBef>
              <a:buClr>
                <a:srgbClr val="23A4FB"/>
              </a:buClr>
              <a:buSzPct val="80000"/>
              <a:buFont typeface="Wingdings" pitchFamily="2" charset="2"/>
              <a:buChar char="l"/>
              <a:tabLst>
                <a:tab pos="2006600" algn="l"/>
                <a:tab pos="5334000" algn="r"/>
              </a:tabLst>
            </a:pPr>
            <a:r>
              <a:rPr lang="fr-FR" b="1" dirty="0">
                <a:solidFill>
                  <a:schemeClr val="tx1">
                    <a:lumMod val="75000"/>
                  </a:schemeClr>
                </a:solidFill>
              </a:rPr>
              <a:t>+ </a:t>
            </a:r>
            <a:r>
              <a:rPr lang="fr-FR" b="1" dirty="0" smtClean="0">
                <a:solidFill>
                  <a:schemeClr val="tx1">
                    <a:lumMod val="75000"/>
                  </a:schemeClr>
                </a:solidFill>
              </a:rPr>
              <a:t>60 000 appels/an au Service Desk</a:t>
            </a:r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137751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77 0.06988 L -0.26197 0.06988 C -0.3748 0.06988 -0.51352 0.01432 -0.51352 -0.0293 L -0.51352 -0.12674 " pathEditMode="relative" rAng="0" ptsTypes="FfFF">
                                      <p:cBhvr>
                                        <p:cTn id="28" dur="20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187" y="-98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7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21394E-6 -2.08333E-6 L -0.14409 0.01801 C -0.17421 0.02279 -0.21817 0.02192 -0.26489 0.01519 C -0.31732 0.00847 -0.35851 -0.00239 -0.38766 -0.01541 L -0.52507 -0.07291 " pathEditMode="relative" rAng="357105" ptsTypes="FffFF">
                                      <p:cBhvr>
                                        <p:cTn id="37" dur="2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457" y="-10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7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59 -0.02452 L -0.11869 0.07986 C -0.13791 0.10352 -0.17047 0.12761 -0.20499 0.15148 C -0.24422 0.17991 -0.27744 0.1964 -0.30219 0.20573 L -0.42039 0.24501 " pathEditMode="relative" rAng="-23221461" ptsTypes="FffFF">
                                      <p:cBhvr>
                                        <p:cTn id="46" dur="20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968" y="156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000"/>
                            </p:stCondLst>
                            <p:childTnLst>
                              <p:par>
                                <p:cTn id="4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248" grpId="0" animBg="1"/>
      <p:bldP spid="249" grpId="0" animBg="1"/>
      <p:bldP spid="25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X.C_4lXUiClO4U2DCv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mu7BIg.UyWrPxxRAjsd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fKwG7KK02J7B0Tf5lJt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JZLvFp5EiIYZJKnSecw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5bRQjVNU.0qJWHNPx9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2PjKOSQ02ciCkCeK45h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y0KPNNc0ec5jvovvxE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hsa361IUi8BfYTNEhf5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rwoKZbuEe2oSPwokcz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g3iqGR0y6BRrp5I1i2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aT.iwqFE2fmblUe799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ULtXDq0akf7ExrYNhC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4zsLXR802xg4GhRy7P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xD1JLte0SY0fek6doJ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1a6fSyE66Mh_6zzU5_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sWdgYnuEa1UUd8mId.9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e_yC6K024sFKeKiHsS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Uz8rgbZkmHJ9d.xlhl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ZXcLzkO0uYBCDUEBipf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tJmaviz0CimOK42D83O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PYvKJcpka2V7JI5pJN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QMr7JfBUinVxh9656m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LlKabRe0.B5GiTWGzw7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LAF6cnFUSCtHnoCIa1Z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7w29cy.EWnrC_CKasCb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jiCb51aU2h0CtetDcfj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6fqf6no06sWB82Wj9I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UCoyApp0ufm6lSmaYCN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z88EmKikizxn1wlYxS5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pvSJ660ODCAPgrqc4A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kmxG._ckG4O6QJZNgfq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pu04s7J0ONG9t2GPzrJ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7OASjfwEGHo2arbhjC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qwAC5uPUynEooVosmh3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5RerJVrk._MzHDidzm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fMVmPoTUCTF3GNzTeLM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RKmMdYrUSWG.vzWXAFI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F1_MbrU0abKnCGHxfb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vBCltPGUuajHD1xA37j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fi.PyWNUii30K7ijv0p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IHR0gDGUuDHWcpqqaS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WxNx7NzE6XUsqhJUpne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GB7J1YUEmOPcKKUr3BZ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_eLZ6zEUSA7uZbx86E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r.84jgNUydt9dj9cuN9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duhVGxM0qJ.EMtr8rr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ZgA4o1n0a7SBu1Ds9gE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nr7VuvkC8OOM0nauTr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TfOiXfkSQlgVVpg7f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bRMaaP9kqhH..BSLda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eQyIV2GkmoJq2pFY3AC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YKAgkKE2Yev37TdoL3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6H0rI9h0.gPftFOB4ru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HmQVZ6o0WTRHjZaiB0a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0cm3G1CEixoMFU7T4z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odq6dq90qWu8CqJYS9O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kThnw6mEmq26U04AaLN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8J26C7o0O.aCpti5JtV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G48ySHA0qvSHgJ0d2B5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X_fJOGw0KTQprB1Q8vg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.KZDLJ0yephtE2SSk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4AUMSy6kyJ71qM_AaS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LnyDgRkK_AWgP8q0of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X3KGxYmkWU0V2kR1.tA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GpsWXBYE6_DLpvcynzu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FtLZTJm0uyxw49RXO4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CS1QGan0GF8StmFU_Ti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urLtNvzkihZ6ddihrsX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Flk.YMYEeS6mxOUfkOx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Bq7n_hGEeECzH6CXZM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qiJugo0irsEqIj2KS1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IFgwMXQkGtxydXM_Cy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pY6hJCkCSsGU.87r35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MxgOHX0UiCHBXPkMM0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pY6hJCkCSsGU.87r35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MxgOHX0UiCHBXPkMM0z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aqTNwSoUyhCzPPazVQ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myUaqEN0KAcQ3XC06CJ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myUaqEN0KAcQ3XC06CJ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sb6Eid4UuPS_F4Pmepu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xxmud1QUiuKmhP9lFFn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X_f21bkm90kfc4Sorm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kq65k2J0G_Nv5jzbmb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QRLBVIeEKrGzRLWxjjn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10nXvCjkKLPiRWQQs4q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Ai4c0nMUCzW0wc1RP2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GOqTaADUGzHsOv7HbUp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21_EYCJkO3gVYW7qkh4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vIc9llZkqOW3EvJX9E2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5GubqlEOyPKkrdf_AR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5GubqlEOyPKkrdf_A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lo0FXDgkayD_O70mZKR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mvFsO5Ckemdn.8QUtIi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mvFsO5Ckemdn.8QUtIi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4zsLXR802xg4GhRy7P3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6H0rI9h0.gPftFOB4ru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sWdgYnuEa1UUd8mId.9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sWdgYnuEa1UUd8mId.9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1a6fSyE66Mh_6zzU5_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1a6fSyE66Mh_6zzU5_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Uz8rgbZkmHJ9d.xlhl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RkgbCekE.HeVqSEaw3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lQOebLUq7tGc.5grE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H2BjZXxUCYTgDAjuawV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RkgbCekE.HeVqSEaw3U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6yt.4wm0SP93E138bQl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6yt.4wm0SP93E138bQl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ywHQZqkOYgK4xvxnn1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Kfohc4kC9IHyZr0THD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mJiQ9yXkmTkppzouZ.k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L9.TVA0Wo7zp9tPRG2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Vqxvais0yd6rAAkQlZ0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E9gffqkS_rAb9MjTP_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DPNAyakUmsnqKGE19kR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DPNAyakUmsnqKGE19kR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X3KGxYmkWU0V2kR1.tA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Bq7n_hGEeECzH6CXZMH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pvSJ660ODCAPgrqc4A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vBCltPGUuajHD1xA37j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_eLZ6zEUSA7uZbx86E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6d1Z2KakOiFJMPCde.5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qiJugo0irsEqIj2KS1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DtrYlHN06fy1bWu41_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tNP48xRkKYtWqOhS6CE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_JusIE4UOsfU2Lu8dx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2Pde7kCESsF3AmVsxQ_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CZaA9jEmSVDB_Di7Ir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i1DbtdE6593eJ9UcPl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8cbCpGGkmFCchbp_eY4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kdZvwnIEabd4ec9cBzR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He6hwBUmss2olxL4Yj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T9mnMm2EqupVngYv4UP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qt3bL2QkyZKQTQg6G8z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HQVzDD00Cy70KAAVwK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fKC74gwEu2WrKBt7t2d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NK3CrZnkq31TrJIJHFV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ateUYm1EWyRM7_NZP8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duXKOKzEufcsVDwJ_E6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l7e6SRd0mAA_rDqyckA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9zcR.1pEWj0wm5bM3d3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qih7s2J0uIXvNcu7AuG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DrOQokqUClDgjUCSk_2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XZZSJlckWUHbmyx6zAv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9KHusJUGzKJFyogwWF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GdOsijQUGCji780V.VS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ABl3nb_kSaVyAHfWtXK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c.IPp97Eim09_fy32Kn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expC8eQkO8xCO78Bfh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PRLlkHE2Jh133QD2OD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Wj6uo3D0GiBBlwI.WOK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sMo.FEBkaImZM6zPM8s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uRBuW0nU2ibq2YDrMMO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qmqPv6ikqjuP4BNDWXF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X1.SY7_EKn6x5CWxi1h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p3LzBz00SoIGdXOZHki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HNyUnFzkCGKkaAEXe56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HNyUnFzkCGKkaAEXe56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HNyUnFzkCGKkaAEXe56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ALmV22E6_VF0L8F1V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Pxqs5CZkGL5PFIl02b_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nNiL91qEWrVCCqVF5gR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hAym14vUGUBSVOKdOx2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i._vEKsEqnVKKl6aD3t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7Y3O6Aw0e3Sp41_miD_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HZAYNjkeIsE7oY3fLh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HbCbXSm0.Wd7mEsfkaZ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EEExhywEqk2LmdO9RPi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TQ1rk2_EWtzK2GikS0m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lVGKmge0GmDXoyvzX0Q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u4ezeXQ0ahsXTCLGb5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UZh3WKQkm9CDVWd9u_W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28BGLbH0.0Hmr0s9xwj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HfobK8kuSVADbWAjT.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unVJAcTEqtS1kses63Z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g6_pndJECKpK5zu.un9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kwr3v.D0.H1FI8Y8B8O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COg7je.EWMwdusRF3Y1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82rm_o0u.IlrDuWc7b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GN_AbsQ0WLkH_BqqD4d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ofZiurb0K56IPwlwUcH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NJnJFjrUmvHOPHf9XW1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sE3MxjmUa9AXQmVdQ4V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LLjSa4kCrbV5vK8VyT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BXRcHZBk6UaYP1FhXbr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12Z3mzOUSB7L10DG3.F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vzISd7s0utJIHfJL4_6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eoOLCfpkyytoVkbuiGN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kmQSifM0G5CMiMz.cyu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3VOse920iGsZIRFU0PE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Oc0526b0uFGb3ME8KGj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PX_UO8W0CSU.gnusNOx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pu.mYTiUumY.KhxPle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4FqJh9bEub39Nlb1aGy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x97IyhnEaet3twPLFIu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Me5eibuUOHH0T4VTPxa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wRLBakhkG9tl5CTizsY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nB1o.yM02pUzdGEgY0E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xhZDP3Y0uhJSZMmdPkv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cYK6BGN0q2v6QrjoZ.P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0YpiPINE2wAkdXmaSe2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R9T4FuEGHNH03Mq_Jm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rR9T4FuEGHNH03Mq_Jm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P.SEsu406d4_Z7suWXT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mu7BIg.UyWrPxxRAjsd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ULtXDq0akf7ExrYNhC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LlKabRe0.B5GiTWGzw7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qwAC5uPUynEooVosmh3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r.84jgNUydt9dj9cuN9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odq6dq90qWu8CqJYS9O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CS1QGan0GF8StmFU_Ti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pY6hJCkCSsGU.87r35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QRLBVIeEKrGzRLWxjjn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lo0FXDgkayD_O70mZK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yhl00zI0eBw30CHWPQr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H2BjZXxUCYTgDAjuawV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Vqxvais0yd6rAAkQlZ0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6d1Z2KakOiFJMPCde.5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CZaA9jEmSVDB_Di7Ir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duXKOKzEufcsVDwJ_E6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PRLlkHE2Jh133QD2OD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Pxqs5CZkGL5PFIl02b_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UZh3WKQkm9CDVWd9u_W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sE3MxjmUa9AXQmVdQ4V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4FqJh9bEub39Nlb1aG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aqTNwSoUyhCzPPazVQt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yhl00zI0eBw30CHWPQr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aqTNwSoUyhCzPPazVQt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MxgOHX0UiCHBXPkMM0z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myUaqEN0KAcQ3XC06CJ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fYz53eaUGF6igH5o.p6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p79Q_GJEWzmyzonkehS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83dXaax02PVRlbUArFK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.Q2kceukOO1cVM_Kd55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a94BbwEWnTH2M8sVNi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iG8kWxuE6o3SLNgT1L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MxgOHX0UiCHBXPkMM0z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b69OV5UeoNBdHk7r64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qasMp8i0eNTXNDxrptl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NwZfWmKUWYrf8d3zrMF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h63MpOfEWwGLt7yuCxg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sb6Eid4UuPS_F4Pmepu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34_TaWF0en9JR2wXZZ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WOEW8E30u0EOjalzdm7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pX8O7pz0SrYVIxDBXjw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xxmud1QUiuKmhP9lFFn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lpOhKV4USxkLJoNoeJ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myUaqEN0KAcQ3XC06CJ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X_f21bkm90kfc4Sorm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mHQMJmU0uREKWCrqrM6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Cc9xXnh0iH1WCXTmdO_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J4HDd3MEGCSDkzy4XLc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K93l4aIEadzaoA3dR6B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4raBZMckWcr4C7JU3CA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Mkm7OYUUKxCy5F4hPwD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bYPcy7UOLffaSzFBPG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KlVZkMhEuj7WkSosJvP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9t_mrz3UeYZ1ZenMSR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fYz53eaUGF6igH5o.p6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mJiQ9yXkmTkppzouZ.k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WKrz32nUOJHjepVx67i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c2R2LPgkGYRF9aeP.Rh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cmlR.rlkOFyCUy2Mbqa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jmjhQfWEitAuVlX0I2f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Uh9GlLXEyqFej5ZTlIl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ywHQZqkOYgK4xvxnn1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x2KxTd7ECh42GqyQ1dK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qdQr0BvUKd4O9tbPB3A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1ozOJXkCtLckwep5G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p79Q_GJEWzmyzonkehS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X6uftyD0KuJWbD5aZbE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P0_DrOdk6cYW3lqeuzM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s8Wae3IUq64V.OY2DT.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Rser9Gqk.58q_RWqCoO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0cgCpip0yLrhebuiDza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Kfohc4kC9IHyZr0THD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I3Xg3a602DtmihceLnK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lOmOb47k2T4O6lBPXi.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9fS5UIqUaNnP6WanrBi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avh0Hb5EOhDtCoLj4W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83dXaax02PVRlbUArFK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Mxt8i9XEqeNmFLBf1oS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IHMu8oUyivf5LcXFRl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9mZeeEkymnvG.dp3Zm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_wuF8YkmTzN8NFwoSp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3XqRDeYU2qltUp3wNL3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AP7Y6Oke3zWToK6nw1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VmnR.wn0mKsVCaV0rEz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AgtcHm6UOwRrTxF9aoT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E9gffqkS_rAb9MjTP_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mf6RNJ00a5bYsrtT4k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.Q2kceukOO1cVM_Kd55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IssTS1EKwI3BCS1H3T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5GubqlEOyPKkrdf_AR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Xo85NCtkSg1tNHuUnih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RkgbCekE.HeVqSEaw3U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6yt.4wm0SP93E138bQl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R5TSyz0UG4zDYQ0Eel9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k42KMBWkSu.iE.sZsaz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vIc9llZkqOW3EvJX9E2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kq65k2J0G_Nv5jzbmby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fKwG7KK02J7B0Tf5lJ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a94BbwEWnTH2M8sVNi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JZLvFp5EiIYZJKnSecw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5bRQjVNU.0qJWHNPx9K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2PjKOSQ02ciCkCeK45h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y0KPNNc0ec5jvovvxEs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hsa361IUi8BfYTNEhf5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rwoKZbuEe2oSPwokczy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g3iqGR0y6BRrp5I1i2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aT.iwqFE2fmblUe799L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4zsLXR802xg4GhRy7P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3ZQv0oL0.hAjSjPAIV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iG8kWxuE6o3SLNgT1LT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xD1JLte0SY0fek6doJr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1a6fSyE66Mh_6zzU5_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sWdgYnuEa1UUd8mId.9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e_yC6K024sFKeKiHsS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Uz8rgbZkmHJ9d.xlhlt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ZXcLzkO0uYBCDUEBipf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tJmaviz0CimOK42D83O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PYvKJcpka2V7JI5pJNU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QMr7JfBUinVxh9656my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LAF6cnFUSCtHnoCIa1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b69OV5UeoNBdHk7r64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7w29cy.EWnrC_CKasCb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jiCb51aU2h0CtetDcfj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6fqf6no06sWB82Wj9Is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UCoyApp0ufm6lSmaYCN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z88EmKikizxn1wlYxS5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pvSJ660ODCAPgrqc4A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kmxG._ckG4O6QJZNgfq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pu04s7J0ONG9t2GPzrJ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7OASjfwEGHo2arbhjCt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5RerJVrk._MzHDidzm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qasMp8i0eNTXNDxrptl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fMVmPoTUCTF3GNzTeLM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RKmMdYrUSWG.vzWXAFI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F1_MbrU0abKnCGHxfbO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vBCltPGUuajHD1xA37j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fi.PyWNUii30K7ijv0p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IHR0gDGUuDHWcpqqaSw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WxNx7NzE6XUsqhJUpne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GB7J1YUEmOPcKKUr3BZ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_eLZ6zEUSA7uZbx86Eo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duhVGxM0qJ.EMtr8rr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NwZfWmKUWYrf8d3zrMF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ZgA4o1n0a7SBu1Ds9gE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nr7VuvkC8OOM0nauTr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TfOiXfkSQlgVVpg7fi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bRMaaP9kqhH..BSLdaH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eQyIV2GkmoJq2pFY3AC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YKAgkKE2Yev37TdoL3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6H0rI9h0.gPftFOB4ru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HmQVZ6o0WTRHjZaiB0a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0cm3G1CEixoMFU7T4zr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kThnw6mEmq26U04AaL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h63MpOfEWwGLt7yuCxg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8J26C7o0O.aCpti5JtV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G48ySHA0qvSHgJ0d2B5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X_fJOGw0KTQprB1Q8vg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.KZDLJ0yephtE2SSkJ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4AUMSy6kyJ71qM_AaSJ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LnyDgRkK_AWgP8q0of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X3KGxYmkWU0V2kR1.tA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GpsWXBYE6_DLpvcynzu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FtLZTJm0uyxw49RXO4t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urLtNvzkihZ6ddihrs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sb6Eid4UuPS_F4Pmepu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Flk.YMYEeS6mxOUfkOx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Bq7n_hGEeECzH6CXZMH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qiJugo0irsEqIj2KS1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IFgwMXQkGtxydXM_Cyt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pY6hJCkCSsGU.87r35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MxgOHX0UiCHBXPkMM0z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MxgOHX0UiCHBXPkMM0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34_TaWF0en9JR2wXZZO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aqTNwSoUyhCzPPazVQt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myUaqEN0KAcQ3XC06CJ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myUaqEN0KAcQ3XC06CJ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sb6Eid4UuPS_F4Pmepu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xxmud1QUiuKmhP9lFFn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X_f21bkm90kfc4Sorm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kq65k2J0G_Nv5jzbmby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10nXvCjkKLPiRWQQs4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WOEW8E30u0EOjalzdm7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Ai4c0nMUCzW0wc1RP2k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GOqTaADUGzHsOv7HbUp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P8tvUsUyOEv_aMLO0k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21_EYCJkO3gVYW7qkh4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vIc9llZkqOW3EvJX9E2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5GubqlEOyPKkrdf_AR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5GubqlEOyPKkrdf_AR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mvFsO5Ckemdn.8QUtI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pX8O7pz0SrYVIxDBXjw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mvFsO5Ckemdn.8QUtIi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4zsLXR802xg4GhRy7P3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6H0rI9h0.gPftFOB4ru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sWdgYnuEa1UUd8mId.9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sWdgYnuEa1UUd8mId.9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1a6fSyE66Mh_6zzU5_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1a6fSyE66Mh_6zzU5_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Uz8rgbZkmHJ9d.xlhlt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RkgbCekE.HeVqSEaw3U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RkgbCekE.HeVqSEaw3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xxmud1QUiuKmhP9lFFn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6yt.4wm0SP93E138bQl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6yt.4wm0SP93E138bQl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ywHQZqkOYgK4xvxnn1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Kfohc4kC9IHyZr0THD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mJiQ9yXkmTkppzouZ.k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L9.TVA0Wo7zp9tPRG2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B2X88F4Em55taQsxle6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lpOhKV4USxkLJoNoeJi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xhoQ3qkWYYe3vWbei2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E9gffqkS_rAb9MjTP_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DPNAyakUmsnqKGE19kR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DPNAyakUmsnqKGE19kR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X3KGxYmkWU0V2kR1.tA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Bq7n_hGEeECzH6CXZMH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pvSJ660ODCAPgrqc4A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vBCltPGUuajHD1xA37j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_eLZ6zEUSA7uZbx86Eo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X_f21bkm90kfc4Sorm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qiJugo0irsEqIj2KS1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P.SEsu406d4_Z7suWXT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P.SEsu406d4_Z7suWXT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P.SEsu406d4_Z7suWXT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Me5eibuUOHH0T4VTPxa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wRLBakhkG9tl5CTizs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mHQMJmU0uREKWCrqrM6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nB1o.yM02pUzdGEgY0E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xhZDP3Y0uhJSZMmdPkv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cYK6BGN0q2v6QrjoZ.P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0YpiPINE2wAkdXmaSe2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_JusIE4UOsfU2Lu8dxl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2Pde7kCESsF3AmVsxQ_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di1DbtdE6593eJ9UcPl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8cbCpGGkmFCchbp_eY4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kdZvwnIEabd4ec9cBzR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He6hwBUmss2olxL4Y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Cc9xXnh0iH1WCXTmdO_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T9mnMm2EqupVngYv4UP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qt3bL2QkyZKQTQg6G8z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q1F0u2UWCvNoO19JW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J4HDd3MEGCSDkzy4XL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K93l4aIEadzaoA3dR6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4raBZMckWcr4C7JU3CA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Mkm7OYUUKxCy5F4hPw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bYPcy7UOLffaSzFBP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KlVZkMhEuj7WkSosJv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RUqBxpkyiDhXXtQRpM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9t_mrz3UeYZ1ZenMSR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mJiQ9yXkmTkppzouZ.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WKrz32nUOJHjepVx67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c2R2LPgkGYRF9aeP.R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cmlR.rlkOFyCUy2Mbq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jmjhQfWEitAuVlX0I2f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Uh9GlLXEyqFej5ZTlIl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ywHQZqkOYgK4xvxnn1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x2KxTd7ECh42GqyQ1d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qdQr0BvUKd4O9tbPB3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XLXXME0q_WmdFzP0UT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1ozOJXkCtLckwep5G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X6uftyD0KuJWbD5aZbE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P0_DrOdk6cYW3lqeuz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s8Wae3IUq64V.OY2DT.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Rser9Gqk.58q_RWqCo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0cgCpip0yLrhebuiDz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Kfohc4kC9IHyZr0TH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I3Xg3a602DtmihceLn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lOmOb47k2T4O6lBPXi.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9fS5UIqUaNnP6WanrB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nur3OXECgLwKNoaNBK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avh0Hb5EOhDtCoLj4W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Mxt8i9XEqeNmFLBf1oS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IHMu8oUyivf5LcXFR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9mZeeEkymnvG.dp3Zm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_wuF8YkmTzN8NFwoS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3XqRDeYU2qltUp3wNL3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AP7Y6Oke3zWToK6nw1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VmnR.wn0mKsVCaV0rEz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AgtcHm6UOwRrTxF9ao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E9gffqkS_rAb9MjTP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DDooivAUec8rRq1OkF1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mf6RNJ00a5bYsrtT4kR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IssTS1EKwI3BCS1H3T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5GubqlEOyPKkrdf_AR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Xo85NCtkSg1tNHuUni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RkgbCekE.HeVqSEaw3U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6yt.4wm0SP93E138bQ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R5TSyz0UG4zDYQ0Eel9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k42KMBWkSu.iE.sZsaz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vIc9llZkqOW3EvJX9E2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kq65k2J0G_Nv5jzbmbyw"/>
</p:tagLst>
</file>

<file path=ppt/theme/theme1.xml><?xml version="1.0" encoding="utf-8"?>
<a:theme xmlns:a="http://schemas.openxmlformats.org/drawingml/2006/main" name="Masque principal">
  <a:themeElements>
    <a:clrScheme name="STEF">
      <a:dk1>
        <a:srgbClr val="00519E"/>
      </a:dk1>
      <a:lt1>
        <a:sysClr val="window" lastClr="FFFFFF"/>
      </a:lt1>
      <a:dk2>
        <a:srgbClr val="009EE0"/>
      </a:dk2>
      <a:lt2>
        <a:srgbClr val="4FA928"/>
      </a:lt2>
      <a:accent1>
        <a:srgbClr val="E47F00"/>
      </a:accent1>
      <a:accent2>
        <a:srgbClr val="3F458B"/>
      </a:accent2>
      <a:accent3>
        <a:srgbClr val="6CC5EB"/>
      </a:accent3>
      <a:accent4>
        <a:srgbClr val="7571A8"/>
      </a:accent4>
      <a:accent5>
        <a:srgbClr val="AECD6B"/>
      </a:accent5>
      <a:accent6>
        <a:srgbClr val="E0A45B"/>
      </a:accent6>
      <a:hlink>
        <a:srgbClr val="00519E"/>
      </a:hlink>
      <a:folHlink>
        <a:srgbClr val="3F458B"/>
      </a:folHlink>
    </a:clrScheme>
    <a:fontScheme name="STEF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519E"/>
        </a:solidFill>
        <a:ln w="6350" algn="ctr">
          <a:solidFill>
            <a:schemeClr val="bg1"/>
          </a:solidFill>
          <a:round/>
          <a:headEnd/>
          <a:tailEnd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defTabSz="914400" fontAlgn="base">
          <a:spcBef>
            <a:spcPct val="0"/>
          </a:spcBef>
          <a:spcAft>
            <a:spcPct val="0"/>
          </a:spcAft>
          <a:defRPr sz="1800">
            <a:latin typeface="Arial" pitchFamily="34" charset="0"/>
            <a:cs typeface="Arial" pitchFamily="34" charset="0"/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Masque Chapitre">
  <a:themeElements>
    <a:clrScheme name="Masque Chapitre 1">
      <a:dk1>
        <a:srgbClr val="00519E"/>
      </a:dk1>
      <a:lt1>
        <a:srgbClr val="FFFFFF"/>
      </a:lt1>
      <a:dk2>
        <a:srgbClr val="009EE0"/>
      </a:dk2>
      <a:lt2>
        <a:srgbClr val="4FA928"/>
      </a:lt2>
      <a:accent1>
        <a:srgbClr val="E47F00"/>
      </a:accent1>
      <a:accent2>
        <a:srgbClr val="3F458B"/>
      </a:accent2>
      <a:accent3>
        <a:srgbClr val="FFFFFF"/>
      </a:accent3>
      <a:accent4>
        <a:srgbClr val="004486"/>
      </a:accent4>
      <a:accent5>
        <a:srgbClr val="EFC0AA"/>
      </a:accent5>
      <a:accent6>
        <a:srgbClr val="383E7D"/>
      </a:accent6>
      <a:hlink>
        <a:srgbClr val="00519E"/>
      </a:hlink>
      <a:folHlink>
        <a:srgbClr val="3F458B"/>
      </a:folHlink>
    </a:clrScheme>
    <a:fontScheme name="Masque Chapitre">
      <a:majorFont>
        <a:latin typeface="Arial Narrow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asque Chapitre 1">
        <a:dk1>
          <a:srgbClr val="00519E"/>
        </a:dk1>
        <a:lt1>
          <a:srgbClr val="FFFFFF"/>
        </a:lt1>
        <a:dk2>
          <a:srgbClr val="009EE0"/>
        </a:dk2>
        <a:lt2>
          <a:srgbClr val="4FA928"/>
        </a:lt2>
        <a:accent1>
          <a:srgbClr val="E47F00"/>
        </a:accent1>
        <a:accent2>
          <a:srgbClr val="3F458B"/>
        </a:accent2>
        <a:accent3>
          <a:srgbClr val="FFFFFF"/>
        </a:accent3>
        <a:accent4>
          <a:srgbClr val="004486"/>
        </a:accent4>
        <a:accent5>
          <a:srgbClr val="EFC0AA"/>
        </a:accent5>
        <a:accent6>
          <a:srgbClr val="383E7D"/>
        </a:accent6>
        <a:hlink>
          <a:srgbClr val="00519E"/>
        </a:hlink>
        <a:folHlink>
          <a:srgbClr val="3F45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0</Words>
  <Application>Microsoft Office PowerPoint</Application>
  <PresentationFormat>Personnalisé</PresentationFormat>
  <Paragraphs>278</Paragraphs>
  <Slides>30</Slides>
  <Notes>20</Notes>
  <HiddenSlides>0</HiddenSlides>
  <MMClips>0</MMClips>
  <ScaleCrop>false</ScaleCrop>
  <HeadingPairs>
    <vt:vector size="4" baseType="variant">
      <vt:variant>
        <vt:lpstr>Thème</vt:lpstr>
      </vt:variant>
      <vt:variant>
        <vt:i4>2</vt:i4>
      </vt:variant>
      <vt:variant>
        <vt:lpstr>Titres des diapositives</vt:lpstr>
      </vt:variant>
      <vt:variant>
        <vt:i4>30</vt:i4>
      </vt:variant>
    </vt:vector>
  </HeadingPairs>
  <TitlesOfParts>
    <vt:vector size="32" baseType="lpstr">
      <vt:lpstr>Masque principal</vt:lpstr>
      <vt:lpstr>Masque Chapitre</vt:lpstr>
      <vt:lpstr>STEF IT / INSA : Projet de conception Stratégie de mutation d’un SI – S0 </vt:lpstr>
      <vt:lpstr>Présentation PowerPoint</vt:lpstr>
      <vt:lpstr>Présentation PowerPoint</vt:lpstr>
      <vt:lpstr>Contexte</vt:lpstr>
      <vt:lpstr>Contexte</vt:lpstr>
      <vt:lpstr>Contexte</vt:lpstr>
      <vt:lpstr>Contexte</vt:lpstr>
      <vt:lpstr>Contexte</vt:lpstr>
      <vt:lpstr>Contexte</vt:lpstr>
      <vt:lpstr>Contexte</vt:lpstr>
      <vt:lpstr>Contexte</vt:lpstr>
      <vt:lpstr>Contexte</vt:lpstr>
      <vt:lpstr>Contexte</vt:lpstr>
      <vt:lpstr>Présentation PowerPoint</vt:lpstr>
      <vt:lpstr>SI Logistique</vt:lpstr>
      <vt:lpstr>SI Logistique</vt:lpstr>
      <vt:lpstr>SI Logistique</vt:lpstr>
      <vt:lpstr>SI Logistique</vt:lpstr>
      <vt:lpstr>SI Logistique</vt:lpstr>
      <vt:lpstr>SI Logistique</vt:lpstr>
      <vt:lpstr>SI Logistique</vt:lpstr>
      <vt:lpstr>SI Logistique</vt:lpstr>
      <vt:lpstr>3</vt:lpstr>
      <vt:lpstr>Le Projet</vt:lpstr>
      <vt:lpstr>Le Projet</vt:lpstr>
      <vt:lpstr>4</vt:lpstr>
      <vt:lpstr>Macro Planning</vt:lpstr>
      <vt:lpstr>5</vt:lpstr>
      <vt:lpstr>Modes de communication</vt:lpstr>
      <vt:lpstr>Merci pour votre attention</vt:lpstr>
    </vt:vector>
  </TitlesOfParts>
  <Company>Offi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ebastien Gautier</dc:creator>
  <cp:lastModifiedBy>AMGHAR Youssef</cp:lastModifiedBy>
  <cp:revision>622</cp:revision>
  <dcterms:created xsi:type="dcterms:W3CDTF">2011-12-12T16:22:52Z</dcterms:created>
  <dcterms:modified xsi:type="dcterms:W3CDTF">2013-12-03T12:48:56Z</dcterms:modified>
</cp:coreProperties>
</file>